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789" r:id="rId1"/>
    <p:sldMasterId id="2147486790" r:id="rId2"/>
    <p:sldMasterId id="2147486816" r:id="rId3"/>
    <p:sldMasterId id="2147486830" r:id="rId4"/>
    <p:sldMasterId id="2147486842" r:id="rId5"/>
    <p:sldMasterId id="2147486854" r:id="rId6"/>
    <p:sldMasterId id="2147486866" r:id="rId7"/>
  </p:sldMasterIdLst>
  <p:notesMasterIdLst>
    <p:notesMasterId r:id="rId33"/>
  </p:notesMasterIdLst>
  <p:handoutMasterIdLst>
    <p:handoutMasterId r:id="rId34"/>
  </p:handoutMasterIdLst>
  <p:sldIdLst>
    <p:sldId id="2711" r:id="rId8"/>
    <p:sldId id="2696" r:id="rId9"/>
    <p:sldId id="2726" r:id="rId10"/>
    <p:sldId id="2727" r:id="rId11"/>
    <p:sldId id="2725" r:id="rId12"/>
    <p:sldId id="2697" r:id="rId13"/>
    <p:sldId id="2731" r:id="rId14"/>
    <p:sldId id="2729" r:id="rId15"/>
    <p:sldId id="2730" r:id="rId16"/>
    <p:sldId id="2728" r:id="rId17"/>
    <p:sldId id="2704" r:id="rId18"/>
    <p:sldId id="2703" r:id="rId19"/>
    <p:sldId id="2723" r:id="rId20"/>
    <p:sldId id="2706" r:id="rId21"/>
    <p:sldId id="2707" r:id="rId22"/>
    <p:sldId id="2712" r:id="rId23"/>
    <p:sldId id="2708" r:id="rId24"/>
    <p:sldId id="2709" r:id="rId25"/>
    <p:sldId id="2715" r:id="rId26"/>
    <p:sldId id="2717" r:id="rId27"/>
    <p:sldId id="2724" r:id="rId28"/>
    <p:sldId id="2720" r:id="rId29"/>
    <p:sldId id="2710" r:id="rId30"/>
    <p:sldId id="3309" r:id="rId31"/>
    <p:sldId id="2683" r:id="rId32"/>
  </p:sldIdLst>
  <p:sldSz cx="11522075" cy="6480175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>
          <p15:clr>
            <a:srgbClr val="A4A3A4"/>
          </p15:clr>
        </p15:guide>
        <p15:guide id="2" pos="36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Попов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9E383"/>
    <a:srgbClr val="BA3A3B"/>
    <a:srgbClr val="FC6E51"/>
    <a:srgbClr val="FF9B08"/>
    <a:srgbClr val="FFC000"/>
    <a:srgbClr val="FF9933"/>
    <a:srgbClr val="F6EF5E"/>
    <a:srgbClr val="0066FF"/>
    <a:srgbClr val="FF3300"/>
    <a:srgbClr val="FFFF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A48A03-3131-4F2F-A306-07301C63E802}" v="297" dt="2020-10-25T17:48:30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73" autoAdjust="0"/>
    <p:restoredTop sz="81497" autoAdjust="0"/>
  </p:normalViewPr>
  <p:slideViewPr>
    <p:cSldViewPr>
      <p:cViewPr varScale="1">
        <p:scale>
          <a:sx n="104" d="100"/>
          <a:sy n="104" d="100"/>
        </p:scale>
        <p:origin x="1128" y="200"/>
      </p:cViewPr>
      <p:guideLst>
        <p:guide orient="horz" pos="2042"/>
        <p:guide pos="36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4002" y="114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ableStyles" Target="tableStyles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commentAuthors" Target="commentAuthor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Леонид Попов" userId="cc02b5965c9bae3b" providerId="LiveId" clId="{FDA48A03-3131-4F2F-A306-07301C63E802}"/>
    <pc:docChg chg="undo custSel addSld delSld modSld sldOrd">
      <pc:chgData name="Леонид Попов" userId="cc02b5965c9bae3b" providerId="LiveId" clId="{FDA48A03-3131-4F2F-A306-07301C63E802}" dt="2020-10-25T18:56:52.735" v="22636" actId="20577"/>
      <pc:docMkLst>
        <pc:docMk/>
      </pc:docMkLst>
      <pc:sldChg chg="modNotes">
        <pc:chgData name="Леонид Попов" userId="cc02b5965c9bae3b" providerId="LiveId" clId="{FDA48A03-3131-4F2F-A306-07301C63E802}" dt="2020-10-24T15:12:32.016" v="9479" actId="1076"/>
        <pc:sldMkLst>
          <pc:docMk/>
          <pc:sldMk cId="0" sldId="2634"/>
        </pc:sldMkLst>
      </pc:sldChg>
      <pc:sldChg chg="modSp mod modNotes modNotesTx">
        <pc:chgData name="Леонид Попов" userId="cc02b5965c9bae3b" providerId="LiveId" clId="{FDA48A03-3131-4F2F-A306-07301C63E802}" dt="2020-10-24T15:14:17.521" v="9513" actId="14100"/>
        <pc:sldMkLst>
          <pc:docMk/>
          <pc:sldMk cId="0" sldId="2662"/>
        </pc:sldMkLst>
        <pc:spChg chg="mod">
          <ac:chgData name="Леонид Попов" userId="cc02b5965c9bae3b" providerId="LiveId" clId="{FDA48A03-3131-4F2F-A306-07301C63E802}" dt="2020-10-24T11:15:51.954" v="177" actId="113"/>
          <ac:spMkLst>
            <pc:docMk/>
            <pc:sldMk cId="0" sldId="2662"/>
            <ac:spMk id="3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7:13.825" v="9564" actId="403"/>
        <pc:sldMkLst>
          <pc:docMk/>
          <pc:sldMk cId="1035472374" sldId="2663"/>
        </pc:sldMkLst>
        <pc:spChg chg="mod">
          <ac:chgData name="Леонид Попов" userId="cc02b5965c9bae3b" providerId="LiveId" clId="{FDA48A03-3131-4F2F-A306-07301C63E802}" dt="2020-10-24T11:35:16.772" v="1703" actId="20577"/>
          <ac:spMkLst>
            <pc:docMk/>
            <pc:sldMk cId="1035472374" sldId="2663"/>
            <ac:spMk id="3" creationId="{00000000-0000-0000-0000-000000000000}"/>
          </ac:spMkLst>
        </pc:spChg>
      </pc:sldChg>
      <pc:sldChg chg="addSp modSp mod ord modNotes modNotesTx">
        <pc:chgData name="Леонид Попов" userId="cc02b5965c9bae3b" providerId="LiveId" clId="{FDA48A03-3131-4F2F-A306-07301C63E802}" dt="2020-10-24T15:16:42.225" v="9558" actId="403"/>
        <pc:sldMkLst>
          <pc:docMk/>
          <pc:sldMk cId="1413424359" sldId="2665"/>
        </pc:sldMkLst>
        <pc:spChg chg="mod">
          <ac:chgData name="Леонид Попов" userId="cc02b5965c9bae3b" providerId="LiveId" clId="{FDA48A03-3131-4F2F-A306-07301C63E802}" dt="2020-10-24T13:18:19.886" v="4422" actId="113"/>
          <ac:spMkLst>
            <pc:docMk/>
            <pc:sldMk cId="1413424359" sldId="2665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8:05.590" v="6125" actId="164"/>
          <ac:spMkLst>
            <pc:docMk/>
            <pc:sldMk cId="1413424359" sldId="2665"/>
            <ac:spMk id="6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7:03.880" v="6115" actId="207"/>
          <ac:spMkLst>
            <pc:docMk/>
            <pc:sldMk cId="1413424359" sldId="2665"/>
            <ac:spMk id="32" creationId="{00000000-0000-0000-0000-000000000000}"/>
          </ac:spMkLst>
        </pc:spChg>
        <pc:grpChg chg="add mod">
          <ac:chgData name="Леонид Попов" userId="cc02b5965c9bae3b" providerId="LiveId" clId="{FDA48A03-3131-4F2F-A306-07301C63E802}" dt="2020-10-24T13:38:10.117" v="6129" actId="1037"/>
          <ac:grpSpMkLst>
            <pc:docMk/>
            <pc:sldMk cId="1413424359" sldId="2665"/>
            <ac:grpSpMk id="11" creationId="{993EF361-5862-4DB3-94A4-018752D86F8D}"/>
          </ac:grpSpMkLst>
        </pc:grp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8" creationId="{44B3C538-5290-466C-BA24-707F60E9A0AB}"/>
          </ac:cxnSpMkLst>
        </pc:cxn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35" creationId="{D34AD776-1AFF-428D-BFDB-393FF7A05FE9}"/>
          </ac:cxnSpMkLst>
        </pc:cxnChg>
      </pc:sldChg>
      <pc:sldChg chg="modSp mod modNotes modNotesTx">
        <pc:chgData name="Леонид Попов" userId="cc02b5965c9bae3b" providerId="LiveId" clId="{FDA48A03-3131-4F2F-A306-07301C63E802}" dt="2020-10-24T15:17:29.734" v="9568" actId="14100"/>
        <pc:sldMkLst>
          <pc:docMk/>
          <pc:sldMk cId="1645717629" sldId="2668"/>
        </pc:sldMkLst>
        <pc:spChg chg="mod">
          <ac:chgData name="Леонид Попов" userId="cc02b5965c9bae3b" providerId="LiveId" clId="{FDA48A03-3131-4F2F-A306-07301C63E802}" dt="2020-10-24T13:20:05.428" v="4442" actId="6549"/>
          <ac:spMkLst>
            <pc:docMk/>
            <pc:sldMk cId="1645717629" sldId="2668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2:49.045" v="5593" actId="6549"/>
          <ac:spMkLst>
            <pc:docMk/>
            <pc:sldMk cId="1645717629" sldId="2668"/>
            <ac:spMk id="66" creationId="{00000000-0000-0000-0000-000000000000}"/>
          </ac:spMkLst>
        </pc:spChg>
      </pc:sldChg>
      <pc:sldChg chg="modSp mod modNotes modNotesTx">
        <pc:chgData name="Леонид Попов" userId="cc02b5965c9bae3b" providerId="LiveId" clId="{FDA48A03-3131-4F2F-A306-07301C63E802}" dt="2020-10-24T15:17:51.317" v="9576" actId="14100"/>
        <pc:sldMkLst>
          <pc:docMk/>
          <pc:sldMk cId="541607132" sldId="2669"/>
        </pc:sldMkLst>
        <pc:spChg chg="mod">
          <ac:chgData name="Леонид Попов" userId="cc02b5965c9bae3b" providerId="LiveId" clId="{FDA48A03-3131-4F2F-A306-07301C63E802}" dt="2020-10-24T13:36:06.273" v="6111" actId="113"/>
          <ac:spMkLst>
            <pc:docMk/>
            <pc:sldMk cId="541607132" sldId="2669"/>
            <ac:spMk id="3" creationId="{00000000-0000-0000-0000-000000000000}"/>
          </ac:spMkLst>
        </pc:spChg>
      </pc:sldChg>
      <pc:sldChg chg="modNotes modNotesTx">
        <pc:chgData name="Леонид Попов" userId="cc02b5965c9bae3b" providerId="LiveId" clId="{FDA48A03-3131-4F2F-A306-07301C63E802}" dt="2020-10-24T15:17:05.885" v="9563" actId="403"/>
        <pc:sldMkLst>
          <pc:docMk/>
          <pc:sldMk cId="210743404" sldId="2673"/>
        </pc:sldMkLst>
      </pc:sldChg>
      <pc:sldChg chg="addSp modSp mod modNotes modNotesTx">
        <pc:chgData name="Леонид Попов" userId="cc02b5965c9bae3b" providerId="LiveId" clId="{FDA48A03-3131-4F2F-A306-07301C63E802}" dt="2020-10-25T12:30:12.224" v="10426"/>
        <pc:sldMkLst>
          <pc:docMk/>
          <pc:sldMk cId="2094818681" sldId="2676"/>
        </pc:sldMkLst>
        <pc:spChg chg="mod">
          <ac:chgData name="Леонид Попов" userId="cc02b5965c9bae3b" providerId="LiveId" clId="{FDA48A03-3131-4F2F-A306-07301C63E802}" dt="2020-10-24T10:57:14.223" v="123" actId="20577"/>
          <ac:spMkLst>
            <pc:docMk/>
            <pc:sldMk cId="2094818681" sldId="2676"/>
            <ac:spMk id="2" creationId="{00000000-0000-0000-0000-000000000000}"/>
          </ac:spMkLst>
        </pc:spChg>
        <pc:picChg chg="add mod">
          <ac:chgData name="Леонид Попов" userId="cc02b5965c9bae3b" providerId="LiveId" clId="{FDA48A03-3131-4F2F-A306-07301C63E802}" dt="2020-10-24T14:57:39.146" v="9470" actId="14100"/>
          <ac:picMkLst>
            <pc:docMk/>
            <pc:sldMk cId="2094818681" sldId="2676"/>
            <ac:picMk id="4" creationId="{67B514D7-768C-449D-8BA8-766ECE030991}"/>
          </ac:picMkLst>
        </pc:picChg>
      </pc:sldChg>
      <pc:sldChg chg="modSp mod modNotes modNotesTx">
        <pc:chgData name="Леонид Попов" userId="cc02b5965c9bae3b" providerId="LiveId" clId="{FDA48A03-3131-4F2F-A306-07301C63E802}" dt="2020-10-24T15:16:56.035" v="9561" actId="403"/>
        <pc:sldMkLst>
          <pc:docMk/>
          <pc:sldMk cId="2290269285" sldId="2677"/>
        </pc:sldMkLst>
        <pc:spChg chg="mod">
          <ac:chgData name="Леонид Попов" userId="cc02b5965c9bae3b" providerId="LiveId" clId="{FDA48A03-3131-4F2F-A306-07301C63E802}" dt="2020-10-24T11:24:22.990" v="689" actId="113"/>
          <ac:spMkLst>
            <pc:docMk/>
            <pc:sldMk cId="2290269285" sldId="2677"/>
            <ac:spMk id="3" creationId="{00000000-0000-0000-0000-000000000000}"/>
          </ac:spMkLst>
        </pc:spChg>
      </pc:sldChg>
      <pc:sldChg chg="delSp modSp mod ord delAnim modAnim modNotes modNotesTx">
        <pc:chgData name="Леонид Попов" userId="cc02b5965c9bae3b" providerId="LiveId" clId="{FDA48A03-3131-4F2F-A306-07301C63E802}" dt="2020-10-24T15:15:20.142" v="9534" actId="1076"/>
        <pc:sldMkLst>
          <pc:docMk/>
          <pc:sldMk cId="1692574993" sldId="2681"/>
        </pc:sldMkLst>
        <pc:spChg chg="mod">
          <ac:chgData name="Леонид Попов" userId="cc02b5965c9bae3b" providerId="LiveId" clId="{FDA48A03-3131-4F2F-A306-07301C63E802}" dt="2020-10-24T13:11:57.609" v="4397" actId="113"/>
          <ac:spMkLst>
            <pc:docMk/>
            <pc:sldMk cId="1692574993" sldId="2681"/>
            <ac:spMk id="3" creationId="{00000000-0000-0000-0000-000000000000}"/>
          </ac:spMkLst>
        </pc:spChg>
        <pc:picChg chg="mod">
          <ac:chgData name="Леонид Попов" userId="cc02b5965c9bae3b" providerId="LiveId" clId="{FDA48A03-3131-4F2F-A306-07301C63E802}" dt="2020-10-24T13:15:13.025" v="4418" actId="1038"/>
          <ac:picMkLst>
            <pc:docMk/>
            <pc:sldMk cId="1692574993" sldId="2681"/>
            <ac:picMk id="2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3:15:07.792" v="4403" actId="478"/>
          <ac:picMkLst>
            <pc:docMk/>
            <pc:sldMk cId="1692574993" sldId="2681"/>
            <ac:picMk id="5" creationId="{00000000-0000-0000-0000-000000000000}"/>
          </ac:picMkLst>
        </pc:picChg>
      </pc:sldChg>
      <pc:sldChg chg="modSp mod ord modNotes">
        <pc:chgData name="Леонид Попов" userId="cc02b5965c9bae3b" providerId="LiveId" clId="{FDA48A03-3131-4F2F-A306-07301C63E802}" dt="2020-10-24T15:16:50.387" v="9560" actId="403"/>
        <pc:sldMkLst>
          <pc:docMk/>
          <pc:sldMk cId="1215263545" sldId="2686"/>
        </pc:sldMkLst>
        <pc:spChg chg="mod">
          <ac:chgData name="Леонид Попов" userId="cc02b5965c9bae3b" providerId="LiveId" clId="{FDA48A03-3131-4F2F-A306-07301C63E802}" dt="2020-10-24T13:18:11.710" v="4420" actId="113"/>
          <ac:spMkLst>
            <pc:docMk/>
            <pc:sldMk cId="1215263545" sldId="2686"/>
            <ac:spMk id="8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5:51.730" v="9545" actId="403"/>
        <pc:sldMkLst>
          <pc:docMk/>
          <pc:sldMk cId="991814917" sldId="2689"/>
        </pc:sldMkLst>
        <pc:spChg chg="mod">
          <ac:chgData name="Леонид Попов" userId="cc02b5965c9bae3b" providerId="LiveId" clId="{FDA48A03-3131-4F2F-A306-07301C63E802}" dt="2020-10-24T13:18:29.696" v="4424" actId="207"/>
          <ac:spMkLst>
            <pc:docMk/>
            <pc:sldMk cId="991814917" sldId="2689"/>
            <ac:spMk id="8" creationId="{00000000-0000-0000-0000-000000000000}"/>
          </ac:spMkLst>
        </pc:spChg>
      </pc:sldChg>
      <pc:sldChg chg="addSp delSp modSp mod modNotes modNotesTx">
        <pc:chgData name="Леонид Попов" userId="cc02b5965c9bae3b" providerId="LiveId" clId="{FDA48A03-3131-4F2F-A306-07301C63E802}" dt="2020-10-24T15:17:39.248" v="9572" actId="14100"/>
        <pc:sldMkLst>
          <pc:docMk/>
          <pc:sldMk cId="3022910651" sldId="2690"/>
        </pc:sldMkLst>
        <pc:spChg chg="mod">
          <ac:chgData name="Леонид Попов" userId="cc02b5965c9bae3b" providerId="LiveId" clId="{FDA48A03-3131-4F2F-A306-07301C63E802}" dt="2020-10-24T13:19:19.598" v="4428" actId="113"/>
          <ac:spMkLst>
            <pc:docMk/>
            <pc:sldMk cId="3022910651" sldId="2690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28:48.692" v="5016" actId="1036"/>
          <ac:spMkLst>
            <pc:docMk/>
            <pc:sldMk cId="3022910651" sldId="2690"/>
            <ac:spMk id="9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3:21:59.242" v="4469" actId="1038"/>
          <ac:spMkLst>
            <pc:docMk/>
            <pc:sldMk cId="3022910651" sldId="2690"/>
            <ac:spMk id="15" creationId="{C7940F41-F359-4D96-B2E9-ED77BCF886A0}"/>
          </ac:spMkLst>
        </pc:spChg>
        <pc:grpChg chg="mod">
          <ac:chgData name="Леонид Попов" userId="cc02b5965c9bae3b" providerId="LiveId" clId="{FDA48A03-3131-4F2F-A306-07301C63E802}" dt="2020-10-24T13:21:54.354" v="4464" actId="1038"/>
          <ac:grpSpMkLst>
            <pc:docMk/>
            <pc:sldMk cId="3022910651" sldId="2690"/>
            <ac:grpSpMk id="10" creationId="{00000000-0000-0000-0000-000000000000}"/>
          </ac:grpSpMkLst>
        </pc:grpChg>
        <pc:graphicFrameChg chg="mod">
          <ac:chgData name="Леонид Попов" userId="cc02b5965c9bae3b" providerId="LiveId" clId="{FDA48A03-3131-4F2F-A306-07301C63E802}" dt="2020-10-24T13:21:54.354" v="4464" actId="1038"/>
          <ac:graphicFrameMkLst>
            <pc:docMk/>
            <pc:sldMk cId="3022910651" sldId="2690"/>
            <ac:graphicFrameMk id="14" creationId="{00000000-0000-0000-0000-000000000000}"/>
          </ac:graphicFrameMkLst>
        </pc:graphicFrameChg>
        <pc:picChg chg="add del">
          <ac:chgData name="Леонид Попов" userId="cc02b5965c9bae3b" providerId="LiveId" clId="{FDA48A03-3131-4F2F-A306-07301C63E802}" dt="2020-10-24T13:25:02.855" v="4865" actId="478"/>
          <ac:picMkLst>
            <pc:docMk/>
            <pc:sldMk cId="3022910651" sldId="2690"/>
            <ac:picMk id="2" creationId="{216D3AF6-F983-4154-A000-07A3B8570651}"/>
          </ac:picMkLst>
        </pc:picChg>
      </pc:sldChg>
      <pc:sldChg chg="del">
        <pc:chgData name="Леонид Попов" userId="cc02b5965c9bae3b" providerId="LiveId" clId="{FDA48A03-3131-4F2F-A306-07301C63E802}" dt="2020-10-24T13:11:34.786" v="4395" actId="47"/>
        <pc:sldMkLst>
          <pc:docMk/>
          <pc:sldMk cId="3938146410" sldId="2692"/>
        </pc:sldMkLst>
      </pc:sldChg>
      <pc:sldChg chg="modSp mod ord modNotes">
        <pc:chgData name="Леонид Попов" userId="cc02b5965c9bae3b" providerId="LiveId" clId="{FDA48A03-3131-4F2F-A306-07301C63E802}" dt="2020-10-24T15:18:19.422" v="9609" actId="20577"/>
        <pc:sldMkLst>
          <pc:docMk/>
          <pc:sldMk cId="2001554719" sldId="2693"/>
        </pc:sldMkLst>
        <pc:spChg chg="mod">
          <ac:chgData name="Леонид Попов" userId="cc02b5965c9bae3b" providerId="LiveId" clId="{FDA48A03-3131-4F2F-A306-07301C63E802}" dt="2020-10-24T11:32:33.274" v="1584" actId="113"/>
          <ac:spMkLst>
            <pc:docMk/>
            <pc:sldMk cId="2001554719" sldId="2693"/>
            <ac:spMk id="13" creationId="{00000000-0000-0000-0000-000000000000}"/>
          </ac:spMkLst>
        </pc:spChg>
      </pc:sldChg>
      <pc:sldChg chg="add del">
        <pc:chgData name="Леонид Попов" userId="cc02b5965c9bae3b" providerId="LiveId" clId="{FDA48A03-3131-4F2F-A306-07301C63E802}" dt="2020-10-24T13:11:29.437" v="4394" actId="47"/>
        <pc:sldMkLst>
          <pc:docMk/>
          <pc:sldMk cId="987412111" sldId="2695"/>
        </pc:sldMkLst>
      </pc:sldChg>
      <pc:sldChg chg="del mod modShow">
        <pc:chgData name="Леонид Попов" userId="cc02b5965c9bae3b" providerId="LiveId" clId="{FDA48A03-3131-4F2F-A306-07301C63E802}" dt="2020-10-24T10:57:40.309" v="125" actId="2696"/>
        <pc:sldMkLst>
          <pc:docMk/>
          <pc:sldMk cId="2738634398" sldId="2695"/>
        </pc:sldMkLst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148891121" sldId="2697"/>
        </pc:sldMkLst>
        <pc:spChg chg="mod">
          <ac:chgData name="Леонид Попов" userId="cc02b5965c9bae3b" providerId="LiveId" clId="{FDA48A03-3131-4F2F-A306-07301C63E802}" dt="2020-10-24T13:10:29.673" v="4389" actId="207"/>
          <ac:spMkLst>
            <pc:docMk/>
            <pc:sldMk cId="2148891121" sldId="2697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40.118" v="9617" actId="1076"/>
        <pc:sldMkLst>
          <pc:docMk/>
          <pc:sldMk cId="3433940016" sldId="2697"/>
        </pc:sldMkLst>
        <pc:spChg chg="mod">
          <ac:chgData name="Леонид Попов" userId="cc02b5965c9bae3b" providerId="LiveId" clId="{FDA48A03-3131-4F2F-A306-07301C63E802}" dt="2020-10-24T13:36:11.197" v="6112" actId="113"/>
          <ac:spMkLst>
            <pc:docMk/>
            <pc:sldMk cId="3433940016" sldId="2697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73365197" sldId="2698"/>
        </pc:sldMkLst>
        <pc:spChg chg="mod">
          <ac:chgData name="Леонид Попов" userId="cc02b5965c9bae3b" providerId="LiveId" clId="{FDA48A03-3131-4F2F-A306-07301C63E802}" dt="2020-10-24T13:10:55.320" v="4391" actId="207"/>
          <ac:spMkLst>
            <pc:docMk/>
            <pc:sldMk cId="273365197" sldId="2698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50.943" v="9622" actId="14100"/>
        <pc:sldMkLst>
          <pc:docMk/>
          <pc:sldMk cId="1416072250" sldId="2698"/>
        </pc:sldMkLst>
        <pc:spChg chg="mod">
          <ac:chgData name="Леонид Попов" userId="cc02b5965c9bae3b" providerId="LiveId" clId="{FDA48A03-3131-4F2F-A306-07301C63E802}" dt="2020-10-24T13:36:28.114" v="6114" actId="113"/>
          <ac:spMkLst>
            <pc:docMk/>
            <pc:sldMk cId="1416072250" sldId="2698"/>
            <ac:spMk id="3" creationId="{00000000-0000-0000-0000-000000000000}"/>
          </ac:spMkLst>
        </pc:spChg>
      </pc:sldChg>
      <pc:sldChg chg="modSp add del mod">
        <pc:chgData name="Леонид Попов" userId="cc02b5965c9bae3b" providerId="LiveId" clId="{FDA48A03-3131-4F2F-A306-07301C63E802}" dt="2020-10-24T14:13:11.144" v="8762" actId="47"/>
        <pc:sldMkLst>
          <pc:docMk/>
          <pc:sldMk cId="405407821" sldId="2699"/>
        </pc:sldMkLst>
        <pc:spChg chg="mod">
          <ac:chgData name="Леонид Попов" userId="cc02b5965c9bae3b" providerId="LiveId" clId="{FDA48A03-3131-4F2F-A306-07301C63E802}" dt="2020-10-24T13:36:15.937" v="6113" actId="113"/>
          <ac:spMkLst>
            <pc:docMk/>
            <pc:sldMk cId="405407821" sldId="2699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3192914804" sldId="2699"/>
        </pc:sldMkLst>
        <pc:spChg chg="mod">
          <ac:chgData name="Леонид Попов" userId="cc02b5965c9bae3b" providerId="LiveId" clId="{FDA48A03-3131-4F2F-A306-07301C63E802}" dt="2020-10-24T13:10:40.934" v="4390" actId="207"/>
          <ac:spMkLst>
            <pc:docMk/>
            <pc:sldMk cId="3192914804" sldId="2699"/>
            <ac:spMk id="3" creationId="{00000000-0000-0000-0000-000000000000}"/>
          </ac:spMkLst>
        </pc:spChg>
      </pc:sldChg>
      <pc:sldChg chg="addSp modSp mod modNotesTx">
        <pc:chgData name="Леонид Попов" userId="cc02b5965c9bae3b" providerId="LiveId" clId="{FDA48A03-3131-4F2F-A306-07301C63E802}" dt="2020-10-25T17:41:22.193" v="21586" actId="1076"/>
        <pc:sldMkLst>
          <pc:docMk/>
          <pc:sldMk cId="3580722648" sldId="2701"/>
        </pc:sldMkLst>
        <pc:spChg chg="add mod">
          <ac:chgData name="Леонид Попов" userId="cc02b5965c9bae3b" providerId="LiveId" clId="{FDA48A03-3131-4F2F-A306-07301C63E802}" dt="2020-10-25T17:41:22.193" v="21586" actId="1076"/>
          <ac:spMkLst>
            <pc:docMk/>
            <pc:sldMk cId="3580722648" sldId="2701"/>
            <ac:spMk id="2" creationId="{76659AA5-706A-4F37-A8B2-77C9EC288F0D}"/>
          </ac:spMkLst>
        </pc:spChg>
        <pc:spChg chg="mod">
          <ac:chgData name="Леонид Попов" userId="cc02b5965c9bae3b" providerId="LiveId" clId="{FDA48A03-3131-4F2F-A306-07301C63E802}" dt="2020-10-24T17:03:05.415" v="9891" actId="113"/>
          <ac:spMkLst>
            <pc:docMk/>
            <pc:sldMk cId="3580722648" sldId="2701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7:31:19.365" v="20389" actId="20577"/>
        <pc:sldMkLst>
          <pc:docMk/>
          <pc:sldMk cId="3774208345" sldId="2703"/>
        </pc:sldMkLst>
        <pc:spChg chg="mod">
          <ac:chgData name="Леонид Попов" userId="cc02b5965c9bae3b" providerId="LiveId" clId="{FDA48A03-3131-4F2F-A306-07301C63E802}" dt="2020-10-25T16:02:27.290" v="15206" actId="20577"/>
          <ac:spMkLst>
            <pc:docMk/>
            <pc:sldMk cId="3774208345" sldId="2703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5T17:22:26.743" v="19512" actId="14100"/>
          <ac:spMkLst>
            <pc:docMk/>
            <pc:sldMk cId="3774208345" sldId="2703"/>
            <ac:spMk id="12" creationId="{7D7F1566-BE38-4866-8FD8-7AB737C8C783}"/>
          </ac:spMkLst>
        </pc:spChg>
        <pc:spChg chg="mod">
          <ac:chgData name="Леонид Попов" userId="cc02b5965c9bae3b" providerId="LiveId" clId="{FDA48A03-3131-4F2F-A306-07301C63E802}" dt="2020-10-25T17:23:15.422" v="19560" actId="113"/>
          <ac:spMkLst>
            <pc:docMk/>
            <pc:sldMk cId="3774208345" sldId="2703"/>
            <ac:spMk id="13" creationId="{D820ADDD-94DD-4C27-97BC-68C0BDDB8871}"/>
          </ac:spMkLst>
        </pc:spChg>
        <pc:grpChg chg="del">
          <ac:chgData name="Леонид Попов" userId="cc02b5965c9bae3b" providerId="LiveId" clId="{FDA48A03-3131-4F2F-A306-07301C63E802}" dt="2020-10-25T16:02:32.349" v="15207" actId="21"/>
          <ac:grpSpMkLst>
            <pc:docMk/>
            <pc:sldMk cId="3774208345" sldId="2703"/>
            <ac:grpSpMk id="4" creationId="{00000000-0000-0000-0000-000000000000}"/>
          </ac:grpSpMkLst>
        </pc:grpChg>
        <pc:grpChg chg="add mod">
          <ac:chgData name="Леонид Попов" userId="cc02b5965c9bae3b" providerId="LiveId" clId="{FDA48A03-3131-4F2F-A306-07301C63E802}" dt="2020-10-25T17:23:36.536" v="19563" actId="14100"/>
          <ac:grpSpMkLst>
            <pc:docMk/>
            <pc:sldMk cId="3774208345" sldId="2703"/>
            <ac:grpSpMk id="11" creationId="{E1E9B8CF-9084-4ACF-A52C-3D97A9A096F4}"/>
          </ac:grpSpMkLst>
        </pc:grpChg>
      </pc:sldChg>
      <pc:sldChg chg="modSp mod modNotesTx">
        <pc:chgData name="Леонид Попов" userId="cc02b5965c9bae3b" providerId="LiveId" clId="{FDA48A03-3131-4F2F-A306-07301C63E802}" dt="2020-10-25T18:49:10.413" v="21927" actId="20577"/>
        <pc:sldMkLst>
          <pc:docMk/>
          <pc:sldMk cId="4293897562" sldId="2704"/>
        </pc:sldMkLst>
        <pc:spChg chg="mod">
          <ac:chgData name="Леонид Попов" userId="cc02b5965c9bae3b" providerId="LiveId" clId="{FDA48A03-3131-4F2F-A306-07301C63E802}" dt="2020-10-25T18:49:10.413" v="21927" actId="20577"/>
          <ac:spMkLst>
            <pc:docMk/>
            <pc:sldMk cId="4293897562" sldId="2704"/>
            <ac:spMk id="3" creationId="{00000000-0000-0000-0000-000000000000}"/>
          </ac:spMkLst>
        </pc:spChg>
      </pc:sldChg>
      <pc:sldChg chg="modSp mod modNotesTx">
        <pc:chgData name="Леонид Попов" userId="cc02b5965c9bae3b" providerId="LiveId" clId="{FDA48A03-3131-4F2F-A306-07301C63E802}" dt="2020-10-25T17:36:38.959" v="21214" actId="20577"/>
        <pc:sldMkLst>
          <pc:docMk/>
          <pc:sldMk cId="430624130" sldId="2706"/>
        </pc:sldMkLst>
        <pc:spChg chg="mod">
          <ac:chgData name="Леонид Попов" userId="cc02b5965c9bae3b" providerId="LiveId" clId="{FDA48A03-3131-4F2F-A306-07301C63E802}" dt="2020-10-24T17:11:45.995" v="10166" actId="6549"/>
          <ac:spMkLst>
            <pc:docMk/>
            <pc:sldMk cId="430624130" sldId="2706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8:21:15.093" v="21909" actId="20577"/>
        <pc:sldMkLst>
          <pc:docMk/>
          <pc:sldMk cId="1252469487" sldId="2707"/>
        </pc:sldMkLst>
        <pc:spChg chg="add mod">
          <ac:chgData name="Леонид Попов" userId="cc02b5965c9bae3b" providerId="LiveId" clId="{FDA48A03-3131-4F2F-A306-07301C63E802}" dt="2020-10-24T16:41:37.715" v="9644" actId="20577"/>
          <ac:spMkLst>
            <pc:docMk/>
            <pc:sldMk cId="1252469487" sldId="2707"/>
            <ac:spMk id="2" creationId="{B8A0C461-5144-44C1-8CBD-F9D16E7B7C73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2" creationId="{96717622-F413-466F-B8A3-25F05C8ED758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24" creationId="{AB6DC76A-025C-4C09-8DBA-2566533B5961}"/>
          </ac:spMkLst>
        </pc:spChg>
        <pc:spChg chg="mod">
          <ac:chgData name="Леонид Попов" userId="cc02b5965c9bae3b" providerId="LiveId" clId="{FDA48A03-3131-4F2F-A306-07301C63E802}" dt="2020-10-25T18:03:41.891" v="21762" actId="20577"/>
          <ac:spMkLst>
            <pc:docMk/>
            <pc:sldMk cId="1252469487" sldId="2707"/>
            <ac:spMk id="25" creationId="{0374BEAA-3DD1-444A-917D-3C2AB2D7A57D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6" creationId="{14613989-4458-4CF2-9C68-631027D229A2}"/>
          </ac:spMkLst>
        </pc:spChg>
        <pc:spChg chg="mod">
          <ac:chgData name="Леонид Попов" userId="cc02b5965c9bae3b" providerId="LiveId" clId="{FDA48A03-3131-4F2F-A306-07301C63E802}" dt="2020-10-25T18:04:33.723" v="21769" actId="14100"/>
          <ac:spMkLst>
            <pc:docMk/>
            <pc:sldMk cId="1252469487" sldId="2707"/>
            <ac:spMk id="28" creationId="{7410D8B0-1592-4D34-87D0-DF28C9E0D9FE}"/>
          </ac:spMkLst>
        </pc:spChg>
        <pc:spChg chg="mod">
          <ac:chgData name="Леонид Попов" userId="cc02b5965c9bae3b" providerId="LiveId" clId="{FDA48A03-3131-4F2F-A306-07301C63E802}" dt="2020-10-25T18:04:29.442" v="21768" actId="6549"/>
          <ac:spMkLst>
            <pc:docMk/>
            <pc:sldMk cId="1252469487" sldId="2707"/>
            <ac:spMk id="29" creationId="{6932870B-FCE3-4AB5-BF6C-A9AB33CA5ACC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0" creationId="{B9AA0B04-F18B-49CC-A226-F158AFE9CFAE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32" creationId="{1A74ACAD-7B27-4608-B185-1AA2923B3FCF}"/>
          </ac:spMkLst>
        </pc:spChg>
        <pc:spChg chg="mod">
          <ac:chgData name="Леонид Попов" userId="cc02b5965c9bae3b" providerId="LiveId" clId="{FDA48A03-3131-4F2F-A306-07301C63E802}" dt="2020-10-25T18:21:15.093" v="21909" actId="20577"/>
          <ac:spMkLst>
            <pc:docMk/>
            <pc:sldMk cId="1252469487" sldId="2707"/>
            <ac:spMk id="33" creationId="{1B91BBAB-CDDE-4F8D-998F-ED2AA73B0947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4" creationId="{8DA1FED6-2DB0-45BC-A322-B5828F0F5E1E}"/>
          </ac:spMkLst>
        </pc:spChg>
        <pc:spChg chg="mod">
          <ac:chgData name="Леонид Попов" userId="cc02b5965c9bae3b" providerId="LiveId" clId="{FDA48A03-3131-4F2F-A306-07301C63E802}" dt="2020-10-25T18:04:37.378" v="21770" actId="14100"/>
          <ac:spMkLst>
            <pc:docMk/>
            <pc:sldMk cId="1252469487" sldId="2707"/>
            <ac:spMk id="36" creationId="{25321281-78AF-4760-8D15-08797356BDA6}"/>
          </ac:spMkLst>
        </pc:spChg>
        <pc:spChg chg="mod">
          <ac:chgData name="Леонид Попов" userId="cc02b5965c9bae3b" providerId="LiveId" clId="{FDA48A03-3131-4F2F-A306-07301C63E802}" dt="2020-10-25T14:58:32.019" v="10738" actId="6549"/>
          <ac:spMkLst>
            <pc:docMk/>
            <pc:sldMk cId="1252469487" sldId="2707"/>
            <ac:spMk id="37" creationId="{496E292B-4CA0-41DC-97A1-84A4894ABDD5}"/>
          </ac:spMkLst>
        </pc:spChg>
        <pc:spChg chg="del mod">
          <ac:chgData name="Леонид Попов" userId="cc02b5965c9bae3b" providerId="LiveId" clId="{FDA48A03-3131-4F2F-A306-07301C63E802}" dt="2020-10-25T14:57:24.284" v="10696" actId="478"/>
          <ac:spMkLst>
            <pc:docMk/>
            <pc:sldMk cId="1252469487" sldId="2707"/>
            <ac:spMk id="38" creationId="{BC8210CD-A17E-463B-B019-0CEF6AF8241A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0" creationId="{F8157F50-FE51-463C-9142-1E84599BD251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1" creationId="{C86F8927-91A3-4C82-A902-4F2820B07ABA}"/>
          </ac:spMkLst>
        </pc:spChg>
        <pc:grpChg chg="mod">
          <ac:chgData name="Леонид Попов" userId="cc02b5965c9bae3b" providerId="LiveId" clId="{FDA48A03-3131-4F2F-A306-07301C63E802}" dt="2020-10-25T18:04:41.255" v="21771" actId="14100"/>
          <ac:grpSpMkLst>
            <pc:docMk/>
            <pc:sldMk cId="1252469487" sldId="2707"/>
            <ac:grpSpMk id="23" creationId="{D483E3AE-0A0D-4802-9B66-40C3EF2CBFF9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27" creationId="{2BC5AECA-858B-47B5-8C14-C52040E8FBC5}"/>
          </ac:grpSpMkLst>
        </pc:grpChg>
        <pc:grpChg chg="mod">
          <ac:chgData name="Леонид Попов" userId="cc02b5965c9bae3b" providerId="LiveId" clId="{FDA48A03-3131-4F2F-A306-07301C63E802}" dt="2020-10-25T18:04:45.272" v="21772" actId="14100"/>
          <ac:grpSpMkLst>
            <pc:docMk/>
            <pc:sldMk cId="1252469487" sldId="2707"/>
            <ac:grpSpMk id="31" creationId="{404DA375-1187-4799-B3BB-5028BEADE771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35" creationId="{12F4B5A6-2D4A-4A37-946A-072F43EBDF46}"/>
          </ac:grpSpMkLst>
        </pc:grpChg>
        <pc:grpChg chg="del">
          <ac:chgData name="Леонид Попов" userId="cc02b5965c9bae3b" providerId="LiveId" clId="{FDA48A03-3131-4F2F-A306-07301C63E802}" dt="2020-10-25T14:57:31.384" v="10697" actId="478"/>
          <ac:grpSpMkLst>
            <pc:docMk/>
            <pc:sldMk cId="1252469487" sldId="2707"/>
            <ac:grpSpMk id="39" creationId="{519A1ACE-1E07-484A-9497-DB3C7C7191FA}"/>
          </ac:grpSpMkLst>
        </pc:grpChg>
      </pc:sldChg>
      <pc:sldChg chg="modNotes">
        <pc:chgData name="Леонид Попов" userId="cc02b5965c9bae3b" providerId="LiveId" clId="{FDA48A03-3131-4F2F-A306-07301C63E802}" dt="2020-10-24T15:13:18.729" v="9497" actId="14100"/>
        <pc:sldMkLst>
          <pc:docMk/>
          <pc:sldMk cId="3070474282" sldId="2708"/>
        </pc:sldMkLst>
      </pc:sldChg>
      <pc:sldChg chg="addSp delSp modSp add mod delAnim modNotes modNotesTx">
        <pc:chgData name="Леонид Попов" userId="cc02b5965c9bae3b" providerId="LiveId" clId="{FDA48A03-3131-4F2F-A306-07301C63E802}" dt="2020-10-24T15:16:59.550" v="9562" actId="403"/>
        <pc:sldMkLst>
          <pc:docMk/>
          <pc:sldMk cId="2042666780" sldId="2709"/>
        </pc:sldMkLst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2" creationId="{8268EB28-777A-404A-9879-6ACDBFFC1051}"/>
          </ac:spMkLst>
        </pc:spChg>
        <pc:spChg chg="mod">
          <ac:chgData name="Леонид Попов" userId="cc02b5965c9bae3b" providerId="LiveId" clId="{FDA48A03-3131-4F2F-A306-07301C63E802}" dt="2020-10-24T11:37:24.691" v="1846" actId="6549"/>
          <ac:spMkLst>
            <pc:docMk/>
            <pc:sldMk cId="2042666780" sldId="2709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7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1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43" creationId="{F3153195-E416-44E7-98C6-5761E8C5BD95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7" creationId="{00000000-0000-0000-0000-00000000000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59" creationId="{C6C2BE14-C66D-416C-8BE1-69079947C9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0" creationId="{218622DF-AC3D-4F55-B80C-99561E9FD07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4" creationId="{206BA8AA-EBF3-4C9C-ACD3-96E90DF0A31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5" creationId="{4EB13A87-DFDA-4ADC-BE94-ABF9BE090FB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6" creationId="{1D7E984C-9C7D-4F95-98E9-4E65D7B9531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7" creationId="{48421674-3634-4E3C-87A4-B25C7FD2C78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8" creationId="{6D356DC8-214F-452F-B97F-F5271B7F1A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3" creationId="{E98627E6-9498-4A9B-86C5-AFE17581FCB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5" creationId="{8F1ACF94-BFD2-407F-B6CB-7BED8258630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6" creationId="{F9E07834-7322-4DCD-B43F-A4BB37DE27B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7" creationId="{D16C696B-614E-41F7-99FE-A6F71F8BEC4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8" creationId="{D469A166-91F2-48E6-9738-CA83290E0BF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9" creationId="{CD39AD7E-8F76-4552-A820-256A576A24D1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0" creationId="{70E2632C-58B2-4DFE-B8AF-123BD1BBDA0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1" creationId="{AA0C6E8D-801C-411E-94EF-61020881161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4" creationId="{03A13BFD-4AF6-46E9-9D0B-26561AA0420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6" creationId="{EA16E4BE-1755-4124-9E22-A54820A589F9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8" creationId="{EDA4AE26-A832-497E-9297-E3DCE7B139C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0" creationId="{97682F59-5204-4196-B2EF-E374654033D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2" creationId="{2AEBF855-02DB-4820-8A6A-9A6D07D64067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4" creationId="{D4D7BE61-AC44-4490-86B1-30DDB9A8D2E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6" creationId="{D766D54E-7C70-4FE7-AB3C-C8D2B6105F42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05" creationId="{D45DFCB7-B7AA-411A-8213-657748A33200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06" creationId="{4E91944E-1195-4763-A12D-662746790E56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10" creationId="{C266897F-64F1-40D2-871D-5A1C1AA83AED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1" creationId="{D55F29E6-BB80-4133-903C-307D74E364CC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2" creationId="{998D38DE-B3AB-4C1A-ABB1-77B3C8EF839D}"/>
          </ac:spMkLst>
        </pc:spChg>
        <pc:spChg chg="add mod">
          <ac:chgData name="Леонид Попов" userId="cc02b5965c9bae3b" providerId="LiveId" clId="{FDA48A03-3131-4F2F-A306-07301C63E802}" dt="2020-10-24T11:55:29.638" v="2149" actId="14100"/>
          <ac:spMkLst>
            <pc:docMk/>
            <pc:sldMk cId="2042666780" sldId="2709"/>
            <ac:spMk id="113" creationId="{DCDA4E66-0059-44BE-AFA5-F0D2834CDE37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4" creationId="{E2664EEC-9349-4C18-911F-184A12D94E64}"/>
          </ac:spMkLst>
        </pc:spChg>
        <pc:spChg chg="add mod">
          <ac:chgData name="Леонид Попов" userId="cc02b5965c9bae3b" providerId="LiveId" clId="{FDA48A03-3131-4F2F-A306-07301C63E802}" dt="2020-10-24T11:54:47.871" v="2112" actId="1038"/>
          <ac:spMkLst>
            <pc:docMk/>
            <pc:sldMk cId="2042666780" sldId="2709"/>
            <ac:spMk id="119" creationId="{3487DF28-4DE8-4603-8A4B-6486C10A12D1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1" creationId="{BE5F7839-C745-4AB0-9947-C99B1F39A2A4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2" creationId="{00A00415-29B8-4092-A992-4CD6B8773B9D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3" creationId="{DAC067A8-A25B-4E86-A062-19D4441226CA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4" creationId="{F78CF6BB-8F27-4CC7-88CE-1C12C68D02C0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5" creationId="{F892D4B7-33C5-41C7-9689-86D31A4494D3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6" creationId="{90E48799-2761-46BA-8D42-5C15A965BD33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7" creationId="{BA6F7C64-3B95-4889-9164-935FC1934FAC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0" creationId="{2EB363A8-561D-481E-A284-69171C04325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2" creationId="{1AA2D7FE-3A72-498E-93DC-57BC6FDD6B1E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4" creationId="{84E85BD8-DC58-4C7E-BF95-B9EE6B6A2CA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6" creationId="{17348FA2-12D9-4C85-8A23-2CA7F1E4F9A9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8" creationId="{DF73EC9A-DA56-4F91-9E0C-701FE62A47EA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40" creationId="{96AFBD45-458A-45A4-9263-6971352E1F74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42" creationId="{6263139B-9F44-428F-A67C-FD56EB9C068B}"/>
          </ac:spMkLst>
        </pc:spChg>
        <pc:spChg chg="add mod">
          <ac:chgData name="Леонид Попов" userId="cc02b5965c9bae3b" providerId="LiveId" clId="{FDA48A03-3131-4F2F-A306-07301C63E802}" dt="2020-10-24T11:55:09.567" v="2148" actId="20577"/>
          <ac:spMkLst>
            <pc:docMk/>
            <pc:sldMk cId="2042666780" sldId="2709"/>
            <ac:spMk id="145" creationId="{AFF2F06E-A1C6-46FD-ABB7-8870F3C13922}"/>
          </ac:spMkLst>
        </pc:spChg>
        <pc:spChg chg="add mod">
          <ac:chgData name="Леонид Попов" userId="cc02b5965c9bae3b" providerId="LiveId" clId="{FDA48A03-3131-4F2F-A306-07301C63E802}" dt="2020-10-24T12:48:56.847" v="2769" actId="1037"/>
          <ac:spMkLst>
            <pc:docMk/>
            <pc:sldMk cId="2042666780" sldId="2709"/>
            <ac:spMk id="148" creationId="{4A2628B1-223E-4D14-90F2-2EB2B44212A5}"/>
          </ac:spMkLst>
        </pc:spChg>
        <pc:spChg chg="add del mod">
          <ac:chgData name="Леонид Попов" userId="cc02b5965c9bae3b" providerId="LiveId" clId="{FDA48A03-3131-4F2F-A306-07301C63E802}" dt="2020-10-24T12:52:43.821" v="2916" actId="478"/>
          <ac:spMkLst>
            <pc:docMk/>
            <pc:sldMk cId="2042666780" sldId="2709"/>
            <ac:spMk id="155" creationId="{9A7D048A-7B1F-429A-BE97-6E9FCAD5D4FF}"/>
          </ac:spMkLst>
        </pc:spChg>
        <pc:grpChg chg="add mod">
          <ac:chgData name="Леонид Попов" userId="cc02b5965c9bae3b" providerId="LiveId" clId="{FDA48A03-3131-4F2F-A306-07301C63E802}" dt="2020-10-24T12:53:36.845" v="2931" actId="1036"/>
          <ac:grpSpMkLst>
            <pc:docMk/>
            <pc:sldMk cId="2042666780" sldId="2709"/>
            <ac:grpSpMk id="158" creationId="{A298E971-E52D-4303-A105-5C88E32C916F}"/>
          </ac:grpSpMkLst>
        </pc:grpChg>
        <pc:graphicFrameChg chg="add del mod">
          <ac:chgData name="Леонид Попов" userId="cc02b5965c9bae3b" providerId="LiveId" clId="{FDA48A03-3131-4F2F-A306-07301C63E802}" dt="2020-10-24T11:40:49.714" v="1852"/>
          <ac:graphicFrameMkLst>
            <pc:docMk/>
            <pc:sldMk cId="2042666780" sldId="2709"/>
            <ac:graphicFrameMk id="82" creationId="{7468DEE4-BC58-4B05-8E8A-96DE4BB8BC9B}"/>
          </ac:graphicFrameMkLst>
        </pc:graphicFrameChg>
        <pc:graphicFrameChg chg="add mod modGraphic">
          <ac:chgData name="Леонид Попов" userId="cc02b5965c9bae3b" providerId="LiveId" clId="{FDA48A03-3131-4F2F-A306-07301C63E802}" dt="2020-10-24T11:57:44.878" v="2285" actId="20577"/>
          <ac:graphicFrameMkLst>
            <pc:docMk/>
            <pc:sldMk cId="2042666780" sldId="2709"/>
            <ac:graphicFrameMk id="128" creationId="{B7D336DC-2FA2-423F-A847-4DACFE994513}"/>
          </ac:graphicFrameMkLst>
        </pc:graphicFrameChg>
        <pc:picChg chg="add mod">
          <ac:chgData name="Леонид Попов" userId="cc02b5965c9bae3b" providerId="LiveId" clId="{FDA48A03-3131-4F2F-A306-07301C63E802}" dt="2020-10-24T12:48:52.775" v="2767" actId="1037"/>
          <ac:picMkLst>
            <pc:docMk/>
            <pc:sldMk cId="2042666780" sldId="2709"/>
            <ac:picMk id="46" creationId="{762217B2-357B-41EA-9DA3-8EBFF1E6CCAF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48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0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1" creationId="{00000000-0000-0000-0000-000000000000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52" creationId="{24ABCEFF-57C6-433B-9AB3-AB4CDF5A6EB2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7" creationId="{6A8703F2-51EB-4D8C-9916-C5BB9B61EB8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9" creationId="{C9771A73-CDF6-4071-B954-DB6F8E19D044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1" creationId="{E98481A8-53D0-4499-A591-BC3D5C1D912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3" creationId="{FCE79EB3-D64A-4740-91A1-F0C47C6AFC4B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5" creationId="{5DBD67BE-181E-44FF-9044-980EF49C2AC7}"/>
          </ac:picMkLst>
        </pc:picChg>
        <pc:picChg chg="add del mod">
          <ac:chgData name="Леонид Попов" userId="cc02b5965c9bae3b" providerId="LiveId" clId="{FDA48A03-3131-4F2F-A306-07301C63E802}" dt="2020-10-24T11:41:14.996" v="1872" actId="478"/>
          <ac:picMkLst>
            <pc:docMk/>
            <pc:sldMk cId="2042666780" sldId="2709"/>
            <ac:picMk id="98" creationId="{2FF911A6-3E14-4F3B-A238-7D02BD7DF979}"/>
          </ac:picMkLst>
        </pc:picChg>
        <pc:picChg chg="add del mod">
          <ac:chgData name="Леонид Попов" userId="cc02b5965c9bae3b" providerId="LiveId" clId="{FDA48A03-3131-4F2F-A306-07301C63E802}" dt="2020-10-24T11:41:06.597" v="1870" actId="478"/>
          <ac:picMkLst>
            <pc:docMk/>
            <pc:sldMk cId="2042666780" sldId="2709"/>
            <ac:picMk id="133" creationId="{3F7A7F89-1920-4FD2-AA1A-E6DFDD03EC1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5" creationId="{B2DFE976-4E60-4889-9B3C-A61E720CC7FD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7" creationId="{69C551A1-9D2A-45FA-BE30-529DD8A89DF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9" creationId="{B5A4681A-41B3-46EE-AB2E-713753A72ED4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41" creationId="{2832A7E7-F8A5-43A1-ADCC-24AD4C007100}"/>
          </ac:picMkLst>
        </pc:picChg>
        <pc:picChg chg="add mod">
          <ac:chgData name="Леонид Попов" userId="cc02b5965c9bae3b" providerId="LiveId" clId="{FDA48A03-3131-4F2F-A306-07301C63E802}" dt="2020-10-24T12:48:56.847" v="2769" actId="1037"/>
          <ac:picMkLst>
            <pc:docMk/>
            <pc:sldMk cId="2042666780" sldId="2709"/>
            <ac:picMk id="147" creationId="{BA1A417E-0034-4845-BE5F-00407A6217FB}"/>
          </ac:picMkLst>
        </pc:picChg>
        <pc:picChg chg="add mod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49" creationId="{B3F0A794-E2C1-4636-AD7F-D257584E4A0B}"/>
          </ac:picMkLst>
        </pc:picChg>
        <pc:picChg chg="add del mod modCrop">
          <ac:chgData name="Леонид Попов" userId="cc02b5965c9bae3b" providerId="LiveId" clId="{FDA48A03-3131-4F2F-A306-07301C63E802}" dt="2020-10-24T12:39:04.595" v="2642" actId="478"/>
          <ac:picMkLst>
            <pc:docMk/>
            <pc:sldMk cId="2042666780" sldId="2709"/>
            <ac:picMk id="150" creationId="{0AD016AE-3E4F-488B-9626-79E242F9DE29}"/>
          </ac:picMkLst>
        </pc:picChg>
        <pc:picChg chg="add del mod">
          <ac:chgData name="Леонид Попов" userId="cc02b5965c9bae3b" providerId="LiveId" clId="{FDA48A03-3131-4F2F-A306-07301C63E802}" dt="2020-10-24T12:43:24.702" v="2677" actId="478"/>
          <ac:picMkLst>
            <pc:docMk/>
            <pc:sldMk cId="2042666780" sldId="2709"/>
            <ac:picMk id="151" creationId="{EE1AE3C2-860F-4CAC-8E5F-FD2176B89CB5}"/>
          </ac:picMkLst>
        </pc:picChg>
        <pc:picChg chg="add del mod">
          <ac:chgData name="Леонид Попов" userId="cc02b5965c9bae3b" providerId="LiveId" clId="{FDA48A03-3131-4F2F-A306-07301C63E802}" dt="2020-10-24T12:45:43.022" v="2680" actId="478"/>
          <ac:picMkLst>
            <pc:docMk/>
            <pc:sldMk cId="2042666780" sldId="2709"/>
            <ac:picMk id="152" creationId="{19266F15-5266-4077-9158-D36E149D0A72}"/>
          </ac:picMkLst>
        </pc:picChg>
        <pc:picChg chg="add del mod">
          <ac:chgData name="Леонид Попов" userId="cc02b5965c9bae3b" providerId="LiveId" clId="{FDA48A03-3131-4F2F-A306-07301C63E802}" dt="2020-10-24T12:46:52.467" v="2687" actId="478"/>
          <ac:picMkLst>
            <pc:docMk/>
            <pc:sldMk cId="2042666780" sldId="2709"/>
            <ac:picMk id="153" creationId="{2B0B3765-1233-4978-9CAF-D7E9A5EC4579}"/>
          </ac:picMkLst>
        </pc:picChg>
        <pc:picChg chg="add del mod">
          <ac:chgData name="Леонид Попов" userId="cc02b5965c9bae3b" providerId="LiveId" clId="{FDA48A03-3131-4F2F-A306-07301C63E802}" dt="2020-10-24T12:53:21.709" v="2926" actId="478"/>
          <ac:picMkLst>
            <pc:docMk/>
            <pc:sldMk cId="2042666780" sldId="2709"/>
            <ac:picMk id="154" creationId="{4CCFF1EA-EFA8-434E-88EA-6D84996713B5}"/>
          </ac:picMkLst>
        </pc:picChg>
        <pc:picChg chg="add mod modCrop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57" creationId="{52755E59-4C9E-4FF0-B1EB-BAC0F4338D18}"/>
          </ac:picMkLst>
        </pc:pic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9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2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5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7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8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9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0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6.509" v="1848" actId="478"/>
          <ac:cxnSpMkLst>
            <pc:docMk/>
            <pc:sldMk cId="2042666780" sldId="2709"/>
            <ac:cxnSpMk id="25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8.476" v="1849" actId="478"/>
          <ac:cxnSpMkLst>
            <pc:docMk/>
            <pc:sldMk cId="2042666780" sldId="2709"/>
            <ac:cxnSpMk id="26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1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4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8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2" creationId="{00000000-0000-0000-0000-00000000000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49" creationId="{4F0E5C9F-9134-4FCD-809C-829BD03365E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3" creationId="{9D5E9AEA-F54F-4891-835E-5D6C955276E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4" creationId="{06F80783-4490-4AF0-9348-D81D3C71743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5" creationId="{92102CEC-B1CE-461D-BF77-55EC7339B7F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6" creationId="{1FA21D66-6945-4898-A82B-7CE5C741DA6F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7" creationId="{0033E675-DDC3-45E1-A6BB-022E3F6EB5A3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8" creationId="{1C03BEA1-CC08-4623-922D-D01A03FA23CB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1" creationId="{CAE4C4F9-6549-41B6-B934-A8A6258DB29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2" creationId="{2846B5DD-4D32-4E89-AC8C-4D8D94310C4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3" creationId="{8048229D-813A-4BD1-BCB2-A9A3A17837D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9" creationId="{D31D341B-14A8-48C6-A142-AE429750D398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0" creationId="{2C7D57F7-8055-461D-8689-C78672C18AB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1" creationId="{1CBC26F8-0CC8-454A-9676-3D4A1D7CFB6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2" creationId="{1B367B03-9243-4934-9D6A-3BCB05A7A33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4" creationId="{76C65AAE-FA08-4511-B552-A702DCA81F3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3" creationId="{F79DC635-5FEB-42C8-BA6F-8E5F6FEEB36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5" creationId="{704307B4-5B79-4C48-AC59-DEEC1D3E52A5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97" creationId="{0320F6E7-7019-4654-BA0A-D359342DE6E1}"/>
          </ac:cxnSpMkLst>
        </pc:cxnChg>
        <pc:cxnChg chg="add mod ord">
          <ac:chgData name="Леонид Попов" userId="cc02b5965c9bae3b" providerId="LiveId" clId="{FDA48A03-3131-4F2F-A306-07301C63E802}" dt="2020-10-24T11:54:13.646" v="2095" actId="1038"/>
          <ac:cxnSpMkLst>
            <pc:docMk/>
            <pc:sldMk cId="2042666780" sldId="2709"/>
            <ac:cxnSpMk id="99" creationId="{68D1C1A3-4468-416A-83A9-BA3DC298BAE5}"/>
          </ac:cxnSpMkLst>
        </pc:cxnChg>
        <pc:cxnChg chg="add mod ord">
          <ac:chgData name="Леонид Попов" userId="cc02b5965c9bae3b" providerId="LiveId" clId="{FDA48A03-3131-4F2F-A306-07301C63E802}" dt="2020-10-24T11:54:18.408" v="2100" actId="1037"/>
          <ac:cxnSpMkLst>
            <pc:docMk/>
            <pc:sldMk cId="2042666780" sldId="2709"/>
            <ac:cxnSpMk id="100" creationId="{8E07E366-25CA-4F99-B2DF-0AA10AC6CCC4}"/>
          </ac:cxnSpMkLst>
        </pc:cxnChg>
        <pc:cxnChg chg="add mod ord">
          <ac:chgData name="Леонид Попов" userId="cc02b5965c9bae3b" providerId="LiveId" clId="{FDA48A03-3131-4F2F-A306-07301C63E802}" dt="2020-10-24T11:54:24.887" v="2104" actId="1038"/>
          <ac:cxnSpMkLst>
            <pc:docMk/>
            <pc:sldMk cId="2042666780" sldId="2709"/>
            <ac:cxnSpMk id="101" creationId="{6540B413-7A46-4D34-97B1-3995C7A3EE81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2" creationId="{5DFF9898-36D8-4D07-9BED-DAE1AF722C89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3" creationId="{B3DA1176-40E2-4FED-9A96-A93AD7872CC4}"/>
          </ac:cxnSpMkLst>
        </pc:cxnChg>
        <pc:cxnChg chg="add del mod ord">
          <ac:chgData name="Леонид Попов" userId="cc02b5965c9bae3b" providerId="LiveId" clId="{FDA48A03-3131-4F2F-A306-07301C63E802}" dt="2020-10-24T11:54:08.365" v="2089" actId="478"/>
          <ac:cxnSpMkLst>
            <pc:docMk/>
            <pc:sldMk cId="2042666780" sldId="2709"/>
            <ac:cxnSpMk id="104" creationId="{53102BDC-F1FE-42EF-ADF8-CE9FBBD38795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7" creationId="{FA1343EE-54E7-476B-90AF-8248C072CC21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8" creationId="{008BEC98-A7CC-4569-8FFD-FA0F61EBD6CE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9" creationId="{DC7ACF36-B812-44E7-A6AE-A4E014DE3014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5" creationId="{5FCBE5C8-07F2-41BA-B38D-A3EC8103631F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6" creationId="{04848AAC-656E-4F73-BED1-681302E2E2E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7" creationId="{8A5A6700-BD22-4F57-9730-F5087099524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8" creationId="{C7357C4B-AEAC-4B2E-B7B4-E8555339E415}"/>
          </ac:cxnSpMkLst>
        </pc:cxnChg>
        <pc:cxnChg chg="add mod ord">
          <ac:chgData name="Леонид Попов" userId="cc02b5965c9bae3b" providerId="LiveId" clId="{FDA48A03-3131-4F2F-A306-07301C63E802}" dt="2020-10-24T11:54:36.863" v="2110" actId="1038"/>
          <ac:cxnSpMkLst>
            <pc:docMk/>
            <pc:sldMk cId="2042666780" sldId="2709"/>
            <ac:cxnSpMk id="120" creationId="{A8F75FEB-47AB-41B6-B55D-2AAA77D87C56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29" creationId="{077B0A6A-4177-4715-AA46-4FDD5FCB54A9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31" creationId="{4942711C-EE28-4B97-8305-C5DC1910F27D}"/>
          </ac:cxnSpMkLst>
        </pc:cxnChg>
      </pc:sldChg>
      <pc:sldChg chg="addSp delSp modSp add mod ord modNotes modNotesTx">
        <pc:chgData name="Леонид Попов" userId="cc02b5965c9bae3b" providerId="LiveId" clId="{FDA48A03-3131-4F2F-A306-07301C63E802}" dt="2020-10-24T15:16:33.909" v="9556" actId="403"/>
        <pc:sldMkLst>
          <pc:docMk/>
          <pc:sldMk cId="541296264" sldId="2710"/>
        </pc:sldMkLst>
        <pc:spChg chg="mod">
          <ac:chgData name="Леонид Попов" userId="cc02b5965c9bae3b" providerId="LiveId" clId="{FDA48A03-3131-4F2F-A306-07301C63E802}" dt="2020-10-24T13:26:27.114" v="4927" actId="20577"/>
          <ac:spMkLst>
            <pc:docMk/>
            <pc:sldMk cId="541296264" sldId="2710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15" creationId="{C7940F41-F359-4D96-B2E9-ED77BCF886A0}"/>
          </ac:spMkLst>
        </pc:spChg>
        <pc:grpChg chg="del">
          <ac:chgData name="Леонид Попов" userId="cc02b5965c9bae3b" providerId="LiveId" clId="{FDA48A03-3131-4F2F-A306-07301C63E802}" dt="2020-10-24T13:25:38.359" v="4869" actId="478"/>
          <ac:grpSpMkLst>
            <pc:docMk/>
            <pc:sldMk cId="541296264" sldId="2710"/>
            <ac:grpSpMk id="10" creationId="{00000000-0000-0000-0000-000000000000}"/>
          </ac:grpSpMkLst>
        </pc:grpChg>
        <pc:graphicFrameChg chg="del">
          <ac:chgData name="Леонид Попов" userId="cc02b5965c9bae3b" providerId="LiveId" clId="{FDA48A03-3131-4F2F-A306-07301C63E802}" dt="2020-10-24T13:25:38.359" v="4869" actId="478"/>
          <ac:graphicFrameMkLst>
            <pc:docMk/>
            <pc:sldMk cId="541296264" sldId="2710"/>
            <ac:graphicFrameMk id="14" creationId="{00000000-0000-0000-0000-000000000000}"/>
          </ac:graphicFrameMkLst>
        </pc:graphicFrameChg>
        <pc:picChg chg="add mod">
          <ac:chgData name="Леонид Попов" userId="cc02b5965c9bae3b" providerId="LiveId" clId="{FDA48A03-3131-4F2F-A306-07301C63E802}" dt="2020-10-24T13:25:56.347" v="4875" actId="12788"/>
          <ac:picMkLst>
            <pc:docMk/>
            <pc:sldMk cId="541296264" sldId="2710"/>
            <ac:picMk id="2" creationId="{9D1802CD-5B44-4866-83C0-EAC2F184A716}"/>
          </ac:picMkLst>
        </pc:picChg>
      </pc:sldChg>
      <pc:sldChg chg="addSp delSp modSp add del mod">
        <pc:chgData name="Леонид Попов" userId="cc02b5965c9bae3b" providerId="LiveId" clId="{FDA48A03-3131-4F2F-A306-07301C63E802}" dt="2020-10-24T12:53:17.888" v="2925" actId="47"/>
        <pc:sldMkLst>
          <pc:docMk/>
          <pc:sldMk cId="1582994035" sldId="2710"/>
        </pc:sldMkLst>
        <pc:spChg chg="mod">
          <ac:chgData name="Леонид Попов" userId="cc02b5965c9bae3b" providerId="LiveId" clId="{FDA48A03-3131-4F2F-A306-07301C63E802}" dt="2020-10-24T12:52:07.590" v="2912" actId="1076"/>
          <ac:spMkLst>
            <pc:docMk/>
            <pc:sldMk cId="1582994035" sldId="2710"/>
            <ac:spMk id="155" creationId="{9A7D048A-7B1F-429A-BE97-6E9FCAD5D4FF}"/>
          </ac:spMkLst>
        </pc:spChg>
        <pc:picChg chg="add del mod">
          <ac:chgData name="Леонид Попов" userId="cc02b5965c9bae3b" providerId="LiveId" clId="{FDA48A03-3131-4F2F-A306-07301C63E802}" dt="2020-10-24T12:52:38.816" v="2915" actId="21"/>
          <ac:picMkLst>
            <pc:docMk/>
            <pc:sldMk cId="1582994035" sldId="2710"/>
            <ac:picMk id="4" creationId="{1F0EB75F-6411-4A3D-992F-08D726F0E593}"/>
          </ac:picMkLst>
        </pc:picChg>
        <pc:picChg chg="del">
          <ac:chgData name="Леонид Попов" userId="cc02b5965c9bae3b" providerId="LiveId" clId="{FDA48A03-3131-4F2F-A306-07301C63E802}" dt="2020-10-24T12:52:03.634" v="2911" actId="478"/>
          <ac:picMkLst>
            <pc:docMk/>
            <pc:sldMk cId="1582994035" sldId="2710"/>
            <ac:picMk id="147" creationId="{BA1A417E-0034-4845-BE5F-00407A6217FB}"/>
          </ac:picMkLst>
        </pc:picChg>
        <pc:picChg chg="mod">
          <ac:chgData name="Леонид Попов" userId="cc02b5965c9bae3b" providerId="LiveId" clId="{FDA48A03-3131-4F2F-A306-07301C63E802}" dt="2020-10-24T12:52:07.590" v="2912" actId="1076"/>
          <ac:picMkLst>
            <pc:docMk/>
            <pc:sldMk cId="1582994035" sldId="2710"/>
            <ac:picMk id="149" creationId="{B3F0A794-E2C1-4636-AD7F-D257584E4A0B}"/>
          </ac:picMkLst>
        </pc:picChg>
      </pc:sldChg>
      <pc:sldChg chg="add del">
        <pc:chgData name="Леонид Попов" userId="cc02b5965c9bae3b" providerId="LiveId" clId="{FDA48A03-3131-4F2F-A306-07301C63E802}" dt="2020-10-24T13:25:17.623" v="4867" actId="2890"/>
        <pc:sldMkLst>
          <pc:docMk/>
          <pc:sldMk cId="3819395886" sldId="2710"/>
        </pc:sldMkLst>
      </pc:sldChg>
      <pc:sldChg chg="addSp delSp modSp new mod modNotesTx">
        <pc:chgData name="Леонид Попов" userId="cc02b5965c9bae3b" providerId="LiveId" clId="{FDA48A03-3131-4F2F-A306-07301C63E802}" dt="2020-10-25T13:20:41.836" v="10695" actId="20577"/>
        <pc:sldMkLst>
          <pc:docMk/>
          <pc:sldMk cId="3743558147" sldId="2711"/>
        </pc:sldMkLst>
        <pc:spChg chg="add mod">
          <ac:chgData name="Леонид Попов" userId="cc02b5965c9bae3b" providerId="LiveId" clId="{FDA48A03-3131-4F2F-A306-07301C63E802}" dt="2020-10-24T14:45:26.874" v="9346"/>
          <ac:spMkLst>
            <pc:docMk/>
            <pc:sldMk cId="3743558147" sldId="2711"/>
            <ac:spMk id="2" creationId="{5D4BA1B2-8EFF-4440-9F22-1EAED0F9221D}"/>
          </ac:spMkLst>
        </pc:spChg>
        <pc:spChg chg="mod">
          <ac:chgData name="Леонид Попов" userId="cc02b5965c9bae3b" providerId="LiveId" clId="{FDA48A03-3131-4F2F-A306-07301C63E802}" dt="2020-10-24T16:50:38.717" v="9823" actId="1036"/>
          <ac:spMkLst>
            <pc:docMk/>
            <pc:sldMk cId="3743558147" sldId="2711"/>
            <ac:spMk id="5" creationId="{EEEB7398-D734-466E-810F-41E228256249}"/>
          </ac:spMkLst>
        </pc:spChg>
        <pc:spChg chg="mod">
          <ac:chgData name="Леонид Попов" userId="cc02b5965c9bae3b" providerId="LiveId" clId="{FDA48A03-3131-4F2F-A306-07301C63E802}" dt="2020-10-24T16:49:05.453" v="9787" actId="1036"/>
          <ac:spMkLst>
            <pc:docMk/>
            <pc:sldMk cId="3743558147" sldId="2711"/>
            <ac:spMk id="7" creationId="{12527E27-B603-4635-B416-39270E7F7AB8}"/>
          </ac:spMkLst>
        </pc:spChg>
        <pc:spChg chg="add mod">
          <ac:chgData name="Леонид Попов" userId="cc02b5965c9bae3b" providerId="LiveId" clId="{FDA48A03-3131-4F2F-A306-07301C63E802}" dt="2020-10-24T16:53:56.330" v="9863" actId="688"/>
          <ac:spMkLst>
            <pc:docMk/>
            <pc:sldMk cId="3743558147" sldId="2711"/>
            <ac:spMk id="8" creationId="{BD760E3E-EE17-4701-90F4-4F9FBDEFA0F1}"/>
          </ac:spMkLst>
        </pc:spChg>
        <pc:spChg chg="add mod">
          <ac:chgData name="Леонид Попов" userId="cc02b5965c9bae3b" providerId="LiveId" clId="{FDA48A03-3131-4F2F-A306-07301C63E802}" dt="2020-10-24T14:47:32.938" v="9452" actId="20577"/>
          <ac:spMkLst>
            <pc:docMk/>
            <pc:sldMk cId="3743558147" sldId="2711"/>
            <ac:spMk id="10" creationId="{7515438E-6C5E-4CAA-B516-7F5CC4838E3E}"/>
          </ac:spMkLst>
        </pc:spChg>
        <pc:spChg chg="add mod">
          <ac:chgData name="Леонид Попов" userId="cc02b5965c9bae3b" providerId="LiveId" clId="{FDA48A03-3131-4F2F-A306-07301C63E802}" dt="2020-10-24T16:49:12.255" v="9788" actId="1076"/>
          <ac:spMkLst>
            <pc:docMk/>
            <pc:sldMk cId="3743558147" sldId="2711"/>
            <ac:spMk id="11" creationId="{49175AC5-3E14-4BAB-BFEF-07FC82C24323}"/>
          </ac:spMkLst>
        </pc:spChg>
        <pc:spChg chg="add del mod">
          <ac:chgData name="Леонид Попов" userId="cc02b5965c9bae3b" providerId="LiveId" clId="{FDA48A03-3131-4F2F-A306-07301C63E802}" dt="2020-10-24T16:56:27.425" v="9887" actId="478"/>
          <ac:spMkLst>
            <pc:docMk/>
            <pc:sldMk cId="3743558147" sldId="2711"/>
            <ac:spMk id="12" creationId="{B534A927-0044-4B75-B8C2-188A85FE6FF5}"/>
          </ac:spMkLst>
        </pc:spChg>
        <pc:grpChg chg="add mod">
          <ac:chgData name="Леонид Попов" userId="cc02b5965c9bae3b" providerId="LiveId" clId="{FDA48A03-3131-4F2F-A306-07301C63E802}" dt="2020-10-24T16:52:29.435" v="9830" actId="1076"/>
          <ac:grpSpMkLst>
            <pc:docMk/>
            <pc:sldMk cId="3743558147" sldId="2711"/>
            <ac:grpSpMk id="3" creationId="{E4B208EE-5329-4723-B75C-1DE43E15A471}"/>
          </ac:grpSpMkLst>
        </pc:grpChg>
        <pc:grpChg chg="mod">
          <ac:chgData name="Леонид Попов" userId="cc02b5965c9bae3b" providerId="LiveId" clId="{FDA48A03-3131-4F2F-A306-07301C63E802}" dt="2020-10-24T16:48:13.264" v="9733" actId="571"/>
          <ac:grpSpMkLst>
            <pc:docMk/>
            <pc:sldMk cId="3743558147" sldId="2711"/>
            <ac:grpSpMk id="4" creationId="{002B10BA-C4AF-41EF-A8F3-3703D6044A0D}"/>
          </ac:grpSpMkLst>
        </pc:grpChg>
        <pc:graphicFrameChg chg="mod">
          <ac:chgData name="Леонид Попов" userId="cc02b5965c9bae3b" providerId="LiveId" clId="{FDA48A03-3131-4F2F-A306-07301C63E802}" dt="2020-10-24T16:50:28.845" v="9816"/>
          <ac:graphicFrameMkLst>
            <pc:docMk/>
            <pc:sldMk cId="3743558147" sldId="2711"/>
            <ac:graphicFrameMk id="6" creationId="{823E948B-B8C2-4F8B-8CC0-9E2EFF734BE8}"/>
          </ac:graphicFrameMkLst>
        </pc:graphicFrameChg>
      </pc:sldChg>
      <pc:sldChg chg="add">
        <pc:chgData name="Леонид Попов" userId="cc02b5965c9bae3b" providerId="LiveId" clId="{FDA48A03-3131-4F2F-A306-07301C63E802}" dt="2020-10-25T17:48:30.429" v="21638"/>
        <pc:sldMkLst>
          <pc:docMk/>
          <pc:sldMk cId="785998685" sldId="2712"/>
        </pc:sldMkLst>
      </pc:sldChg>
      <pc:sldChg chg="addSp modSp new del mod ord modShow modNotesTx">
        <pc:chgData name="Леонид Попов" userId="cc02b5965c9bae3b" providerId="LiveId" clId="{FDA48A03-3131-4F2F-A306-07301C63E802}" dt="2020-10-25T17:48:27.025" v="21637" actId="2696"/>
        <pc:sldMkLst>
          <pc:docMk/>
          <pc:sldMk cId="2683052125" sldId="2712"/>
        </pc:sldMkLst>
        <pc:spChg chg="add mod">
          <ac:chgData name="Леонид Попов" userId="cc02b5965c9bae3b" providerId="LiveId" clId="{FDA48A03-3131-4F2F-A306-07301C63E802}" dt="2020-10-24T17:03:26.992" v="9941" actId="20577"/>
          <ac:spMkLst>
            <pc:docMk/>
            <pc:sldMk cId="2683052125" sldId="2712"/>
            <ac:spMk id="5" creationId="{68F6C310-34D7-4AB2-8D7D-EB0E5DD87498}"/>
          </ac:spMkLst>
        </pc:spChg>
        <pc:spChg chg="add mod">
          <ac:chgData name="Леонид Попов" userId="cc02b5965c9bae3b" providerId="LiveId" clId="{FDA48A03-3131-4F2F-A306-07301C63E802}" dt="2020-10-24T17:04:52.606" v="9977" actId="1076"/>
          <ac:spMkLst>
            <pc:docMk/>
            <pc:sldMk cId="2683052125" sldId="2712"/>
            <ac:spMk id="6" creationId="{E729B6D4-2AFB-4906-86E3-F7883CC79D58}"/>
          </ac:spMkLst>
        </pc:spChg>
        <pc:spChg chg="add mod">
          <ac:chgData name="Леонид Попов" userId="cc02b5965c9bae3b" providerId="LiveId" clId="{FDA48A03-3131-4F2F-A306-07301C63E802}" dt="2020-10-24T17:06:22.932" v="10059" actId="1076"/>
          <ac:spMkLst>
            <pc:docMk/>
            <pc:sldMk cId="2683052125" sldId="2712"/>
            <ac:spMk id="9" creationId="{7848E7B9-C6B7-462B-8E3A-7D913A8575DF}"/>
          </ac:spMkLst>
        </pc:spChg>
        <pc:spChg chg="add mod">
          <ac:chgData name="Леонид Попов" userId="cc02b5965c9bae3b" providerId="LiveId" clId="{FDA48A03-3131-4F2F-A306-07301C63E802}" dt="2020-10-24T17:06:56.890" v="10074" actId="1076"/>
          <ac:spMkLst>
            <pc:docMk/>
            <pc:sldMk cId="2683052125" sldId="2712"/>
            <ac:spMk id="11" creationId="{79F369D3-2102-4562-8646-A8C527452023}"/>
          </ac:spMkLst>
        </pc:spChg>
        <pc:spChg chg="add mod ord">
          <ac:chgData name="Леонид Попов" userId="cc02b5965c9bae3b" providerId="LiveId" clId="{FDA48A03-3131-4F2F-A306-07301C63E802}" dt="2020-10-25T17:16:22.233" v="19305" actId="1038"/>
          <ac:spMkLst>
            <pc:docMk/>
            <pc:sldMk cId="2683052125" sldId="2712"/>
            <ac:spMk id="13" creationId="{5811B531-8260-4A38-818E-58F245053B34}"/>
          </ac:spMkLst>
        </pc:spChg>
        <pc:spChg chg="add mod ord">
          <ac:chgData name="Леонид Попов" userId="cc02b5965c9bae3b" providerId="LiveId" clId="{FDA48A03-3131-4F2F-A306-07301C63E802}" dt="2020-10-24T17:08:44.022" v="10083" actId="207"/>
          <ac:spMkLst>
            <pc:docMk/>
            <pc:sldMk cId="2683052125" sldId="2712"/>
            <ac:spMk id="14" creationId="{5BCE1A79-1955-4D53-8443-B86E9F7ABAE7}"/>
          </ac:spMkLst>
        </pc:spChg>
        <pc:spChg chg="add mod ord">
          <ac:chgData name="Леонид Попов" userId="cc02b5965c9bae3b" providerId="LiveId" clId="{FDA48A03-3131-4F2F-A306-07301C63E802}" dt="2020-10-24T17:09:10.107" v="10087" actId="1076"/>
          <ac:spMkLst>
            <pc:docMk/>
            <pc:sldMk cId="2683052125" sldId="2712"/>
            <ac:spMk id="15" creationId="{76594CFE-C33C-431D-BFCC-08DE8E263AF8}"/>
          </ac:spMkLst>
        </pc:spChg>
        <pc:picChg chg="add mod">
          <ac:chgData name="Леонид Попов" userId="cc02b5965c9bae3b" providerId="LiveId" clId="{FDA48A03-3131-4F2F-A306-07301C63E802}" dt="2020-10-24T17:04:42.529" v="9975" actId="1076"/>
          <ac:picMkLst>
            <pc:docMk/>
            <pc:sldMk cId="2683052125" sldId="2712"/>
            <ac:picMk id="3" creationId="{CEDFC07A-6CA9-40D3-B9A5-07121A673676}"/>
          </ac:picMkLst>
        </pc:picChg>
        <pc:cxnChg chg="add mod">
          <ac:chgData name="Леонид Попов" userId="cc02b5965c9bae3b" providerId="LiveId" clId="{FDA48A03-3131-4F2F-A306-07301C63E802}" dt="2020-10-24T17:05:19.616" v="9985" actId="692"/>
          <ac:cxnSpMkLst>
            <pc:docMk/>
            <pc:sldMk cId="2683052125" sldId="2712"/>
            <ac:cxnSpMk id="8" creationId="{6B206BC4-9424-4956-A1B5-294F17591C5C}"/>
          </ac:cxnSpMkLst>
        </pc:cxnChg>
        <pc:cxnChg chg="add mod">
          <ac:chgData name="Леонид Попов" userId="cc02b5965c9bae3b" providerId="LiveId" clId="{FDA48A03-3131-4F2F-A306-07301C63E802}" dt="2020-10-24T17:06:28.780" v="10062" actId="1036"/>
          <ac:cxnSpMkLst>
            <pc:docMk/>
            <pc:sldMk cId="2683052125" sldId="2712"/>
            <ac:cxnSpMk id="10" creationId="{67CBD7A9-37C8-4E4E-9D4A-103A2CB2423D}"/>
          </ac:cxnSpMkLst>
        </pc:cxnChg>
        <pc:cxnChg chg="add mod">
          <ac:chgData name="Леонид Попов" userId="cc02b5965c9bae3b" providerId="LiveId" clId="{FDA48A03-3131-4F2F-A306-07301C63E802}" dt="2020-10-24T17:06:53.944" v="10073" actId="571"/>
          <ac:cxnSpMkLst>
            <pc:docMk/>
            <pc:sldMk cId="2683052125" sldId="2712"/>
            <ac:cxnSpMk id="12" creationId="{C9135597-9A10-46F2-8530-DEEBC38EBD97}"/>
          </ac:cxnSpMkLst>
        </pc:cxnChg>
      </pc:sldChg>
      <pc:sldChg chg="addSp delSp modSp new mod modNotesTx">
        <pc:chgData name="Леонид Попов" userId="cc02b5965c9bae3b" providerId="LiveId" clId="{FDA48A03-3131-4F2F-A306-07301C63E802}" dt="2020-10-25T17:00:01.069" v="17659" actId="20577"/>
        <pc:sldMkLst>
          <pc:docMk/>
          <pc:sldMk cId="1785321096" sldId="2713"/>
        </pc:sldMkLst>
        <pc:spChg chg="add mod">
          <ac:chgData name="Леонид Попов" userId="cc02b5965c9bae3b" providerId="LiveId" clId="{FDA48A03-3131-4F2F-A306-07301C63E802}" dt="2020-10-25T15:02:17.575" v="10772" actId="6549"/>
          <ac:spMkLst>
            <pc:docMk/>
            <pc:sldMk cId="1785321096" sldId="2713"/>
            <ac:spMk id="3" creationId="{ECCBC75B-19ED-445F-BDC5-F376143368F5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4" creationId="{811B9C00-AF8E-416E-8DFE-CDF6B93D201E}"/>
          </ac:spMkLst>
        </pc:spChg>
        <pc:spChg chg="mod topLvl">
          <ac:chgData name="Леонид Попов" userId="cc02b5965c9bae3b" providerId="LiveId" clId="{FDA48A03-3131-4F2F-A306-07301C63E802}" dt="2020-10-25T15:01:25.993" v="10763" actId="208"/>
          <ac:spMkLst>
            <pc:docMk/>
            <pc:sldMk cId="1785321096" sldId="2713"/>
            <ac:spMk id="5" creationId="{79BC1C9E-9AE8-4A2F-BCA9-FB61F7797C9A}"/>
          </ac:spMkLst>
        </pc:spChg>
        <pc:spChg chg="mod topLvl">
          <ac:chgData name="Леонид Попов" userId="cc02b5965c9bae3b" providerId="LiveId" clId="{FDA48A03-3131-4F2F-A306-07301C63E802}" dt="2020-10-25T15:01:13.087" v="10762" actId="208"/>
          <ac:spMkLst>
            <pc:docMk/>
            <pc:sldMk cId="1785321096" sldId="2713"/>
            <ac:spMk id="6" creationId="{FCC057F8-3325-4887-80D6-410518275FC8}"/>
          </ac:spMkLst>
        </pc:spChg>
        <pc:spChg chg="mod topLvl">
          <ac:chgData name="Леонид Попов" userId="cc02b5965c9bae3b" providerId="LiveId" clId="{FDA48A03-3131-4F2F-A306-07301C63E802}" dt="2020-10-25T16:52:39.735" v="16623" actId="1037"/>
          <ac:spMkLst>
            <pc:docMk/>
            <pc:sldMk cId="1785321096" sldId="2713"/>
            <ac:spMk id="8" creationId="{A5D28B67-A8A9-4B73-9237-204003AB1E00}"/>
          </ac:spMkLst>
        </pc:spChg>
        <pc:spChg chg="mod">
          <ac:chgData name="Леонид Попов" userId="cc02b5965c9bae3b" providerId="LiveId" clId="{FDA48A03-3131-4F2F-A306-07301C63E802}" dt="2020-10-25T15:01:04.536" v="10761" actId="208"/>
          <ac:spMkLst>
            <pc:docMk/>
            <pc:sldMk cId="1785321096" sldId="2713"/>
            <ac:spMk id="9" creationId="{1C686AC7-04A7-4844-B3BC-C2DA3007B9E1}"/>
          </ac:spMkLst>
        </pc:spChg>
        <pc:spChg chg="mod">
          <ac:chgData name="Леонид Попов" userId="cc02b5965c9bae3b" providerId="LiveId" clId="{FDA48A03-3131-4F2F-A306-07301C63E802}" dt="2020-10-24T17:28:25.079" v="10352" actId="165"/>
          <ac:spMkLst>
            <pc:docMk/>
            <pc:sldMk cId="1785321096" sldId="2713"/>
            <ac:spMk id="10" creationId="{2091944C-5359-4232-8353-F5081D095CFA}"/>
          </ac:spMkLst>
        </pc:spChg>
        <pc:spChg chg="mod">
          <ac:chgData name="Леонид Попов" userId="cc02b5965c9bae3b" providerId="LiveId" clId="{FDA48A03-3131-4F2F-A306-07301C63E802}" dt="2020-10-25T15:00:30.157" v="10757" actId="207"/>
          <ac:spMkLst>
            <pc:docMk/>
            <pc:sldMk cId="1785321096" sldId="2713"/>
            <ac:spMk id="11" creationId="{5A661BD2-1F12-4EA9-A868-FAAE45A4FD81}"/>
          </ac:spMkLst>
        </pc:spChg>
        <pc:spChg chg="mod">
          <ac:chgData name="Леонид Попов" userId="cc02b5965c9bae3b" providerId="LiveId" clId="{FDA48A03-3131-4F2F-A306-07301C63E802}" dt="2020-10-25T15:00:44.889" v="10759" actId="208"/>
          <ac:spMkLst>
            <pc:docMk/>
            <pc:sldMk cId="1785321096" sldId="2713"/>
            <ac:spMk id="12" creationId="{D85D0618-F7FC-4ABF-B24A-687942546D22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4" creationId="{9410AAA1-D1BA-47F0-8916-EA878E6760CE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5" creationId="{95218DD5-C76A-4462-8F9F-A196C024F751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8" creationId="{96F6AB18-537B-4EB7-8DA4-93C80ACD77E9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9" creationId="{AA167B3B-BB2D-47A9-BAA6-6F48C0AB3BA3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20" creationId="{04BFC481-C540-40A1-AA9D-E0DB271C478F}"/>
          </ac:spMkLst>
        </pc:spChg>
        <pc:spChg chg="mod">
          <ac:chgData name="Леонид Попов" userId="cc02b5965c9bae3b" providerId="LiveId" clId="{FDA48A03-3131-4F2F-A306-07301C63E802}" dt="2020-10-24T17:16:17.761" v="10281" actId="14100"/>
          <ac:spMkLst>
            <pc:docMk/>
            <pc:sldMk cId="1785321096" sldId="2713"/>
            <ac:spMk id="22" creationId="{A1178B7C-F452-4D19-8C2E-B4AE7EB4DA1A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23" creationId="{071E34F3-FEF8-402F-B421-1AB4A622FA9E}"/>
          </ac:spMkLst>
        </pc:spChg>
        <pc:spChg chg="mod">
          <ac:chgData name="Леонид Попов" userId="cc02b5965c9bae3b" providerId="LiveId" clId="{FDA48A03-3131-4F2F-A306-07301C63E802}" dt="2020-10-24T17:16:10.873" v="10279" actId="1076"/>
          <ac:spMkLst>
            <pc:docMk/>
            <pc:sldMk cId="1785321096" sldId="2713"/>
            <ac:spMk id="23" creationId="{0FC236C7-AB56-4D28-8213-358229AA82F9}"/>
          </ac:spMkLst>
        </pc:spChg>
        <pc:spChg chg="mod">
          <ac:chgData name="Леонид Попов" userId="cc02b5965c9bae3b" providerId="LiveId" clId="{FDA48A03-3131-4F2F-A306-07301C63E802}" dt="2020-10-24T17:16:44.320" v="10296" actId="1038"/>
          <ac:spMkLst>
            <pc:docMk/>
            <pc:sldMk cId="1785321096" sldId="2713"/>
            <ac:spMk id="24" creationId="{B36E900D-2FBA-4A3E-8B5D-1FA04D4024A8}"/>
          </ac:spMkLst>
        </pc:spChg>
        <pc:spChg chg="add del mod">
          <ac:chgData name="Леонид Попов" userId="cc02b5965c9bae3b" providerId="LiveId" clId="{FDA48A03-3131-4F2F-A306-07301C63E802}" dt="2020-10-24T17:22:23.164" v="10301" actId="478"/>
          <ac:spMkLst>
            <pc:docMk/>
            <pc:sldMk cId="1785321096" sldId="2713"/>
            <ac:spMk id="25" creationId="{04E97044-DA36-4C86-A683-56E5F9697A9B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6" creationId="{82493BE1-C2F5-47C8-8012-16B8FD52208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7" creationId="{1074B261-4A50-4E48-B3AE-A092B1EF596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8" creationId="{B26A8FFC-D4B2-4FC2-8E6F-0768B03B44A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9" creationId="{BC3184C9-B014-43B0-9353-E270E6151123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0" creationId="{91ACB16C-D05F-432B-A47D-FEC25B6B3638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1" creationId="{86C638D2-12C0-4191-B04A-7DAA3FB68CE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2" creationId="{912034F7-B750-400A-90AF-53FB0A6068FC}"/>
          </ac:spMkLst>
        </pc:spChg>
        <pc:grpChg chg="add mod">
          <ac:chgData name="Леонид Попов" userId="cc02b5965c9bae3b" providerId="LiveId" clId="{FDA48A03-3131-4F2F-A306-07301C63E802}" dt="2020-10-25T16:52:39.735" v="16623" actId="1037"/>
          <ac:grpSpMkLst>
            <pc:docMk/>
            <pc:sldMk cId="1785321096" sldId="2713"/>
            <ac:grpSpMk id="2" creationId="{341B1789-3F25-4C95-B142-9FEFC5A48251}"/>
          </ac:grpSpMkLst>
        </pc:grpChg>
        <pc:grpChg chg="add del mod">
          <ac:chgData name="Леонид Попов" userId="cc02b5965c9bae3b" providerId="LiveId" clId="{FDA48A03-3131-4F2F-A306-07301C63E802}" dt="2020-10-24T17:28:25.079" v="10352" actId="165"/>
          <ac:grpSpMkLst>
            <pc:docMk/>
            <pc:sldMk cId="1785321096" sldId="2713"/>
            <ac:grpSpMk id="4" creationId="{513EF93B-AE0C-435E-ADEB-6A84A68B9273}"/>
          </ac:grpSpMkLst>
        </pc:grpChg>
        <pc:grpChg chg="mod topLvl">
          <ac:chgData name="Леонид Попов" userId="cc02b5965c9bae3b" providerId="LiveId" clId="{FDA48A03-3131-4F2F-A306-07301C63E802}" dt="2020-10-25T15:00:56.683" v="10760" actId="164"/>
          <ac:grpSpMkLst>
            <pc:docMk/>
            <pc:sldMk cId="1785321096" sldId="2713"/>
            <ac:grpSpMk id="7" creationId="{12453CF8-7448-4532-9FA9-2535178AA80C}"/>
          </ac:grpSpMkLst>
        </pc:grpChg>
        <pc:grpChg chg="add mod">
          <ac:chgData name="Леонид Попов" userId="cc02b5965c9bae3b" providerId="LiveId" clId="{FDA48A03-3131-4F2F-A306-07301C63E802}" dt="2020-10-25T16:52:28.216" v="16615" actId="1038"/>
          <ac:grpSpMkLst>
            <pc:docMk/>
            <pc:sldMk cId="1785321096" sldId="2713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6:53:26.451" v="16625" actId="1076"/>
          <ac:grpSpMkLst>
            <pc:docMk/>
            <pc:sldMk cId="1785321096" sldId="2713"/>
            <ac:grpSpMk id="17" creationId="{C06B78C8-1A39-4D79-96B0-BA49318DF445}"/>
          </ac:grpSpMkLst>
        </pc:grpChg>
        <pc:grpChg chg="add del mod">
          <ac:chgData name="Леонид Попов" userId="cc02b5965c9bae3b" providerId="LiveId" clId="{FDA48A03-3131-4F2F-A306-07301C63E802}" dt="2020-10-24T17:14:06.019" v="10266" actId="478"/>
          <ac:grpSpMkLst>
            <pc:docMk/>
            <pc:sldMk cId="1785321096" sldId="2713"/>
            <ac:grpSpMk id="17" creationId="{D12E3900-D1C8-44A2-939A-BDDE40F2B63C}"/>
          </ac:grpSpMkLst>
        </pc:grpChg>
        <pc:grpChg chg="add del mod">
          <ac:chgData name="Леонид Попов" userId="cc02b5965c9bae3b" providerId="LiveId" clId="{FDA48A03-3131-4F2F-A306-07301C63E802}" dt="2020-10-24T17:21:42.976" v="10297" actId="478"/>
          <ac:grpSpMkLst>
            <pc:docMk/>
            <pc:sldMk cId="1785321096" sldId="2713"/>
            <ac:grpSpMk id="21" creationId="{1F6521A8-C0F6-48FE-A7D1-6F78599E8F21}"/>
          </ac:grpSpMkLst>
        </pc:grpChg>
        <pc:graphicFrameChg chg="add mod">
          <ac:chgData name="Леонид Попов" userId="cc02b5965c9bae3b" providerId="LiveId" clId="{FDA48A03-3131-4F2F-A306-07301C63E802}" dt="2020-10-25T16:52:28.216" v="16615" actId="1038"/>
          <ac:graphicFrameMkLst>
            <pc:docMk/>
            <pc:sldMk cId="1785321096" sldId="2713"/>
            <ac:graphicFrameMk id="16" creationId="{6912F192-9A87-4110-933D-53B0B6044358}"/>
          </ac:graphicFrameMkLst>
        </pc:graphicFrameChg>
      </pc:sldChg>
      <pc:sldChg chg="addSp delSp modSp add del mod modNotesTx">
        <pc:chgData name="Леонид Попов" userId="cc02b5965c9bae3b" providerId="LiveId" clId="{FDA48A03-3131-4F2F-A306-07301C63E802}" dt="2020-10-25T17:00:13.329" v="17660" actId="2696"/>
        <pc:sldMkLst>
          <pc:docMk/>
          <pc:sldMk cId="1399880721" sldId="2714"/>
        </pc:sldMkLst>
        <pc:spChg chg="mod">
          <ac:chgData name="Леонид Попов" userId="cc02b5965c9bae3b" providerId="LiveId" clId="{FDA48A03-3131-4F2F-A306-07301C63E802}" dt="2020-10-25T16:01:14.295" v="15122" actId="6549"/>
          <ac:spMkLst>
            <pc:docMk/>
            <pc:sldMk cId="1399880721" sldId="2714"/>
            <ac:spMk id="3" creationId="{ECCBC75B-19ED-445F-BDC5-F376143368F5}"/>
          </ac:spMkLst>
        </pc:spChg>
        <pc:spChg chg="add del">
          <ac:chgData name="Леонид Попов" userId="cc02b5965c9bae3b" providerId="LiveId" clId="{FDA48A03-3131-4F2F-A306-07301C63E802}" dt="2020-10-25T15:57:41.257" v="15031" actId="22"/>
          <ac:spMkLst>
            <pc:docMk/>
            <pc:sldMk cId="1399880721" sldId="2714"/>
            <ac:spMk id="4" creationId="{815544D2-BF0A-4937-8C46-E2AC6BA383C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8" creationId="{A5D28B67-A8A9-4B73-9237-204003AB1E00}"/>
          </ac:spMkLst>
        </pc:spChg>
        <pc:spChg chg="add del mod">
          <ac:chgData name="Леонид Попов" userId="cc02b5965c9bae3b" providerId="LiveId" clId="{FDA48A03-3131-4F2F-A306-07301C63E802}" dt="2020-10-25T16:50:42.276" v="16555" actId="21"/>
          <ac:spMkLst>
            <pc:docMk/>
            <pc:sldMk cId="1399880721" sldId="2714"/>
            <ac:spMk id="18" creationId="{F47476B3-EAC4-4A27-AD8A-3BCBE67FF875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25" creationId="{7AD1D3B1-164C-4CBF-B906-7D4CDDE87F30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6" creationId="{82493BE1-C2F5-47C8-8012-16B8FD52208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7" creationId="{1074B261-4A50-4E48-B3AE-A092B1EF596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8" creationId="{B26A8FFC-D4B2-4FC2-8E6F-0768B03B44A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9" creationId="{BC3184C9-B014-43B0-9353-E270E6151123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0" creationId="{91ACB16C-D05F-432B-A47D-FEC25B6B3638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1" creationId="{86C638D2-12C0-4191-B04A-7DAA3FB68CE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2" creationId="{912034F7-B750-400A-90AF-53FB0A6068F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3" creationId="{B56307EC-FD9F-4028-8B3A-B3E8A0A7EE20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4" creationId="{6DB50D51-B198-4C27-92FB-091ACE0DC55F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5" creationId="{EA71266F-9487-4137-913D-DEC96668DCA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6" creationId="{B2AB15F5-0CD8-4E8F-A0E4-609F9EC84DDD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7" creationId="{ECE13DAB-AADB-46FA-A2F7-3739BF3A3724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8" creationId="{30BE260C-5C5B-4208-90B4-5835A278379F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39" creationId="{E0D568B5-6F52-401F-B109-76C0C635D7EE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0" creationId="{EF27BF9B-EF57-41B4-9EC2-DCAB5866A857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1" creationId="{E57529F1-AA5F-438D-A398-223A1C503F22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5" creationId="{191D8650-2065-4855-A07F-4661D12654F1}"/>
          </ac:spMkLst>
        </pc:spChg>
        <pc:spChg chg="del mod topLvl">
          <ac:chgData name="Леонид Попов" userId="cc02b5965c9bae3b" providerId="LiveId" clId="{FDA48A03-3131-4F2F-A306-07301C63E802}" dt="2020-10-25T15:56:19.639" v="15021" actId="478"/>
          <ac:spMkLst>
            <pc:docMk/>
            <pc:sldMk cId="1399880721" sldId="2714"/>
            <ac:spMk id="48" creationId="{2C67704D-05A2-4266-B16B-35CF75E50149}"/>
          </ac:spMkLst>
        </pc:spChg>
        <pc:spChg chg="del mod topLvl">
          <ac:chgData name="Леонид Попов" userId="cc02b5965c9bae3b" providerId="LiveId" clId="{FDA48A03-3131-4F2F-A306-07301C63E802}" dt="2020-10-25T15:56:25.511" v="15022" actId="478"/>
          <ac:spMkLst>
            <pc:docMk/>
            <pc:sldMk cId="1399880721" sldId="2714"/>
            <ac:spMk id="49" creationId="{24BFC110-8B4D-4B87-959F-02C6CE19932B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0" creationId="{DE1721D3-7C1A-4EE6-A075-3A43ECED420D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1" creationId="{C49E547C-B062-4C0A-887B-A39FD2CB90D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2" creationId="{FD463738-489B-40EF-A676-D8D4E1B72D5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3" creationId="{29A8CBF4-0C64-463C-9598-8515AF3EC3DF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4" creationId="{C6100307-3966-410C-A9A7-D08D3603CBF2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5" creationId="{56A7FE12-777F-4372-B3CA-38B2D930D41B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6" creationId="{9154A79B-F7B2-4A10-9D09-0A7C608FCD4F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7" creationId="{EB68A1CE-4EB2-4AFD-B85D-73A14C8D1191}"/>
          </ac:spMkLst>
        </pc:spChg>
        <pc:spChg chg="add del mod">
          <ac:chgData name="Леонид Попов" userId="cc02b5965c9bae3b" providerId="LiveId" clId="{FDA48A03-3131-4F2F-A306-07301C63E802}" dt="2020-10-25T15:56:30.186" v="15023" actId="478"/>
          <ac:spMkLst>
            <pc:docMk/>
            <pc:sldMk cId="1399880721" sldId="2714"/>
            <ac:spMk id="61" creationId="{781DC684-135B-4B2A-B4D0-D852A5179E13}"/>
          </ac:spMkLst>
        </pc:spChg>
        <pc:spChg chg="add del mod">
          <ac:chgData name="Леонид Попов" userId="cc02b5965c9bae3b" providerId="LiveId" clId="{FDA48A03-3131-4F2F-A306-07301C63E802}" dt="2020-10-25T16:01:40.444" v="15123" actId="478"/>
          <ac:spMkLst>
            <pc:docMk/>
            <pc:sldMk cId="1399880721" sldId="2714"/>
            <ac:spMk id="63" creationId="{2D2D3198-BEAB-4684-B8CC-8457F8853739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5" creationId="{81C98A65-08A2-4B8C-BC0D-90D6461A7851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6" creationId="{43279150-5A19-48F7-8E47-6307149D4C3D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7" creationId="{370CFC2B-C32E-4C1D-97F5-76491E879B83}"/>
          </ac:spMkLst>
        </pc:s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2" creationId="{341B1789-3F25-4C95-B142-9FEFC5A48251}"/>
          </ac:grpSpMkLst>
        </pc:gr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5:58:37.072" v="15044" actId="164"/>
          <ac:grpSpMkLst>
            <pc:docMk/>
            <pc:sldMk cId="1399880721" sldId="2714"/>
            <ac:grpSpMk id="17" creationId="{9EF2F710-595D-4B65-AD87-10D2A3AD881F}"/>
          </ac:grpSpMkLst>
        </pc:grpChg>
        <pc:grpChg chg="add del mod">
          <ac:chgData name="Леонид Попов" userId="cc02b5965c9bae3b" providerId="LiveId" clId="{FDA48A03-3131-4F2F-A306-07301C63E802}" dt="2020-10-25T15:56:00.653" v="15017"/>
          <ac:grpSpMkLst>
            <pc:docMk/>
            <pc:sldMk cId="1399880721" sldId="2714"/>
            <ac:grpSpMk id="23" creationId="{5049BAD4-0489-40F5-938E-548E45613CB5}"/>
          </ac:grpSpMkLst>
        </pc:grpChg>
        <pc:grpChg chg="mod">
          <ac:chgData name="Леонид Попов" userId="cc02b5965c9bae3b" providerId="LiveId" clId="{FDA48A03-3131-4F2F-A306-07301C63E802}" dt="2020-10-25T15:55:58.808" v="15016"/>
          <ac:grpSpMkLst>
            <pc:docMk/>
            <pc:sldMk cId="1399880721" sldId="2714"/>
            <ac:grpSpMk id="24" creationId="{F4BF69C3-BA43-4B69-82A3-B23FD83B7DAA}"/>
          </ac:grpSpMkLst>
        </pc:grpChg>
        <pc:grpChg chg="add del mod">
          <ac:chgData name="Леонид Попов" userId="cc02b5965c9bae3b" providerId="LiveId" clId="{FDA48A03-3131-4F2F-A306-07301C63E802}" dt="2020-10-25T15:56:17.073" v="15020" actId="165"/>
          <ac:grpSpMkLst>
            <pc:docMk/>
            <pc:sldMk cId="1399880721" sldId="2714"/>
            <ac:grpSpMk id="46" creationId="{40A41937-AA5A-4C98-88C1-9F3DDCD5354B}"/>
          </ac:grpSpMkLst>
        </pc:grpChg>
        <pc:grpChg chg="del mod topLvl">
          <ac:chgData name="Леонид Попов" userId="cc02b5965c9bae3b" providerId="LiveId" clId="{FDA48A03-3131-4F2F-A306-07301C63E802}" dt="2020-10-25T15:56:19.639" v="15021" actId="478"/>
          <ac:grpSpMkLst>
            <pc:docMk/>
            <pc:sldMk cId="1399880721" sldId="2714"/>
            <ac:grpSpMk id="47" creationId="{5B234E33-F222-4964-B390-3C37D5B415C8}"/>
          </ac:grpSpMkLst>
        </pc:grpChg>
        <pc:grpChg chg="add mod">
          <ac:chgData name="Леонид Попов" userId="cc02b5965c9bae3b" providerId="LiveId" clId="{FDA48A03-3131-4F2F-A306-07301C63E802}" dt="2020-10-25T16:02:50.430" v="15208"/>
          <ac:grpSpMkLst>
            <pc:docMk/>
            <pc:sldMk cId="1399880721" sldId="2714"/>
            <ac:grpSpMk id="64" creationId="{BA1A7FED-1B32-438D-AB56-0FA93E52ECDB}"/>
          </ac:grpSpMkLst>
        </pc:grpChg>
        <pc:graphicFrameChg chg="del">
          <ac:chgData name="Леонид Попов" userId="cc02b5965c9bae3b" providerId="LiveId" clId="{FDA48A03-3131-4F2F-A306-07301C63E802}" dt="2020-10-25T15:55:58.035" v="15015" actId="478"/>
          <ac:graphicFrameMkLst>
            <pc:docMk/>
            <pc:sldMk cId="1399880721" sldId="2714"/>
            <ac:graphicFrameMk id="16" creationId="{6912F192-9A87-4110-933D-53B0B6044358}"/>
          </ac:graphicFrameMkLst>
        </pc:graphicFrame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2" creationId="{5AA83510-870E-4EFF-9C86-76ACB3C8D50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3" creationId="{3CC70F76-2E4E-4AD1-A927-3038286A5E7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4" creationId="{598111B7-C513-44D6-ACCD-036AC822A6A9}"/>
          </ac:cxnSpMkLst>
        </pc:cxnChg>
        <pc:cxnChg chg="add del mod">
          <ac:chgData name="Леонид Попов" userId="cc02b5965c9bae3b" providerId="LiveId" clId="{FDA48A03-3131-4F2F-A306-07301C63E802}" dt="2020-10-25T15:56:50.750" v="15026" actId="478"/>
          <ac:cxnSpMkLst>
            <pc:docMk/>
            <pc:sldMk cId="1399880721" sldId="2714"/>
            <ac:cxnSpMk id="58" creationId="{60AB3BAC-DEE8-4EC5-867E-2BAD1628CF06}"/>
          </ac:cxnSpMkLst>
        </pc:cxnChg>
        <pc:cxnChg chg="add del mod">
          <ac:chgData name="Леонид Попов" userId="cc02b5965c9bae3b" providerId="LiveId" clId="{FDA48A03-3131-4F2F-A306-07301C63E802}" dt="2020-10-25T15:56:51.873" v="15027" actId="478"/>
          <ac:cxnSpMkLst>
            <pc:docMk/>
            <pc:sldMk cId="1399880721" sldId="2714"/>
            <ac:cxnSpMk id="59" creationId="{07D94A37-E80D-4545-A8E0-7341442FF48E}"/>
          </ac:cxnSpMkLst>
        </pc:cxnChg>
        <pc:cxnChg chg="add del mod">
          <ac:chgData name="Леонид Попов" userId="cc02b5965c9bae3b" providerId="LiveId" clId="{FDA48A03-3131-4F2F-A306-07301C63E802}" dt="2020-10-25T15:56:52.750" v="15028" actId="478"/>
          <ac:cxnSpMkLst>
            <pc:docMk/>
            <pc:sldMk cId="1399880721" sldId="2714"/>
            <ac:cxnSpMk id="60" creationId="{3E41AED0-6F29-4EF8-BC44-8957200031B1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10:27.174" v="21882" actId="20577"/>
        <pc:sldMkLst>
          <pc:docMk/>
          <pc:sldMk cId="1800269486" sldId="2715"/>
        </pc:sldMkLst>
        <pc:spChg chg="mod">
          <ac:chgData name="Леонид Попов" userId="cc02b5965c9bae3b" providerId="LiveId" clId="{FDA48A03-3131-4F2F-A306-07301C63E802}" dt="2020-10-25T16:01:56.065" v="15160" actId="20577"/>
          <ac:spMkLst>
            <pc:docMk/>
            <pc:sldMk cId="1800269486" sldId="2715"/>
            <ac:spMk id="3" creationId="{ECCBC75B-19ED-445F-BDC5-F376143368F5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5" creationId="{56A7FE12-777F-4372-B3CA-38B2D930D41B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6" creationId="{9154A79B-F7B2-4A10-9D09-0A7C608FCD4F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7" creationId="{EB68A1CE-4EB2-4AFD-B85D-73A14C8D1191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63" creationId="{2D2D3198-BEAB-4684-B8CC-8457F8853739}"/>
          </ac:spMkLst>
        </pc:spChg>
        <pc:grpChg chg="del">
          <ac:chgData name="Леонид Попов" userId="cc02b5965c9bae3b" providerId="LiveId" clId="{FDA48A03-3131-4F2F-A306-07301C63E802}" dt="2020-10-25T15:59:29.984" v="15047" actId="478"/>
          <ac:grpSpMkLst>
            <pc:docMk/>
            <pc:sldMk cId="1800269486" sldId="2715"/>
            <ac:grpSpMk id="17" creationId="{9EF2F710-595D-4B65-AD87-10D2A3AD881F}"/>
          </ac:grpSpMkLst>
        </pc:grp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0" creationId="{1EA0C557-72FF-4BE5-A38D-8EDB41B24601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1" creationId="{A242E19D-F66B-4A29-9CAF-2D1FB21A89F2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2" creationId="{73B963C8-EFC0-467A-85E9-FD331BAD2726}"/>
          </ac:picMkLst>
        </pc:picChg>
        <pc:cxnChg chg="add mod">
          <ac:chgData name="Леонид Попов" userId="cc02b5965c9bae3b" providerId="LiveId" clId="{FDA48A03-3131-4F2F-A306-07301C63E802}" dt="2020-10-25T15:59:57.781" v="15073" actId="1036"/>
          <ac:cxnSpMkLst>
            <pc:docMk/>
            <pc:sldMk cId="1800269486" sldId="2715"/>
            <ac:cxnSpMk id="13" creationId="{E6C3F399-2DF2-4D41-AF2B-CF6C0A000F27}"/>
          </ac:cxnSpMkLst>
        </pc:cxnChg>
      </pc:sldChg>
      <pc:sldChg chg="addSp delSp modSp add mod ord modNotesTx">
        <pc:chgData name="Леонид Попов" userId="cc02b5965c9bae3b" providerId="LiveId" clId="{FDA48A03-3131-4F2F-A306-07301C63E802}" dt="2020-10-25T18:53:20.970" v="22299" actId="20577"/>
        <pc:sldMkLst>
          <pc:docMk/>
          <pc:sldMk cId="4112451551" sldId="2716"/>
        </pc:sldMkLst>
        <pc:spChg chg="mod">
          <ac:chgData name="Леонид Попов" userId="cc02b5965c9bae3b" providerId="LiveId" clId="{FDA48A03-3131-4F2F-A306-07301C63E802}" dt="2020-10-25T18:06:02.213" v="21832" actId="20577"/>
          <ac:spMkLst>
            <pc:docMk/>
            <pc:sldMk cId="4112451551" sldId="2716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6" creationId="{E729B6D4-2AFB-4906-86E3-F7883CC79D5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9" creationId="{7848E7B9-C6B7-462B-8E3A-7D913A8575DF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1" creationId="{79F369D3-2102-4562-8646-A8C527452023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3" creationId="{5811B531-8260-4A38-818E-58F245053B34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4" creationId="{5BCE1A79-1955-4D53-8443-B86E9F7ABAE7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5" creationId="{76594CFE-C33C-431D-BFCC-08DE8E263AF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8" creationId="{E402E4CA-8A6A-4490-822A-4603F72B9B1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9" creationId="{E5E3FB86-2B92-44C5-84EF-0A54E7E2CAD7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1" creationId="{97AE4147-7BF3-46EC-A2DB-1E9EBF177951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2" creationId="{7E39E060-1371-4955-B02E-7C720DB4F241}"/>
          </ac:spMkLst>
        </pc:spChg>
        <pc:spChg chg="del mod topLvl">
          <ac:chgData name="Леонид Попов" userId="cc02b5965c9bae3b" providerId="LiveId" clId="{FDA48A03-3131-4F2F-A306-07301C63E802}" dt="2020-10-25T17:49:56.159" v="21670" actId="478"/>
          <ac:spMkLst>
            <pc:docMk/>
            <pc:sldMk cId="4112451551" sldId="2716"/>
            <ac:spMk id="25" creationId="{BA68F566-C815-45D9-9EFA-E30F5174EB73}"/>
          </ac:spMkLst>
        </pc:spChg>
        <pc:spChg chg="del mod topLvl">
          <ac:chgData name="Леонид Попов" userId="cc02b5965c9bae3b" providerId="LiveId" clId="{FDA48A03-3131-4F2F-A306-07301C63E802}" dt="2020-10-25T17:42:11.322" v="21593" actId="478"/>
          <ac:spMkLst>
            <pc:docMk/>
            <pc:sldMk cId="4112451551" sldId="2716"/>
            <ac:spMk id="26" creationId="{A2DFEE59-7D37-4790-8333-1C37CDAC0DE3}"/>
          </ac:spMkLst>
        </pc:spChg>
        <pc:spChg chg="mod">
          <ac:chgData name="Леонид Попов" userId="cc02b5965c9bae3b" providerId="LiveId" clId="{FDA48A03-3131-4F2F-A306-07301C63E802}" dt="2020-10-25T17:49:32.441" v="21668" actId="14100"/>
          <ac:spMkLst>
            <pc:docMk/>
            <pc:sldMk cId="4112451551" sldId="2716"/>
            <ac:spMk id="28" creationId="{47951E5C-4417-4254-94FC-B60C76C73661}"/>
          </ac:spMkLst>
        </pc:spChg>
        <pc:spChg chg="mod">
          <ac:chgData name="Леонид Попов" userId="cc02b5965c9bae3b" providerId="LiveId" clId="{FDA48A03-3131-4F2F-A306-07301C63E802}" dt="2020-10-25T17:42:00.515" v="21590" actId="20577"/>
          <ac:spMkLst>
            <pc:docMk/>
            <pc:sldMk cId="4112451551" sldId="2716"/>
            <ac:spMk id="29" creationId="{732EC201-985E-443C-B12C-DEFD622709F2}"/>
          </ac:spMkLst>
        </pc:s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17" creationId="{57E895BE-07F5-4ACC-97C6-B8F5437F0BB6}"/>
          </ac:grpSpMkLst>
        </pc:gr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20" creationId="{54DFC080-19C5-47C7-9AED-D2E897FDCB18}"/>
          </ac:grpSpMkLst>
        </pc:grpChg>
        <pc:grpChg chg="add del mod">
          <ac:chgData name="Леонид Попов" userId="cc02b5965c9bae3b" providerId="LiveId" clId="{FDA48A03-3131-4F2F-A306-07301C63E802}" dt="2020-10-25T17:40:58.773" v="21582" actId="165"/>
          <ac:grpSpMkLst>
            <pc:docMk/>
            <pc:sldMk cId="4112451551" sldId="2716"/>
            <ac:grpSpMk id="24" creationId="{A69721D0-A89A-43E4-9C20-300073D1D8F0}"/>
          </ac:grpSpMkLst>
        </pc:grpChg>
        <pc:grpChg chg="add mod">
          <ac:chgData name="Леонид Попов" userId="cc02b5965c9bae3b" providerId="LiveId" clId="{FDA48A03-3131-4F2F-A306-07301C63E802}" dt="2020-10-25T17:49:36.170" v="21669" actId="1076"/>
          <ac:grpSpMkLst>
            <pc:docMk/>
            <pc:sldMk cId="4112451551" sldId="2716"/>
            <ac:grpSpMk id="27" creationId="{4751EE0A-0EF7-4052-91BF-62B45F0823B8}"/>
          </ac:grpSpMkLst>
        </pc:grpChg>
        <pc:picChg chg="del">
          <ac:chgData name="Леонид Попов" userId="cc02b5965c9bae3b" providerId="LiveId" clId="{FDA48A03-3131-4F2F-A306-07301C63E802}" dt="2020-10-25T17:39:55.363" v="21528" actId="478"/>
          <ac:picMkLst>
            <pc:docMk/>
            <pc:sldMk cId="4112451551" sldId="2716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0:02.424" v="21553"/>
          <ac:picMkLst>
            <pc:docMk/>
            <pc:sldMk cId="4112451551" sldId="2716"/>
            <ac:picMk id="16" creationId="{69C858BD-89A8-4CAF-BA7B-B96D952A0D0E}"/>
          </ac:picMkLst>
        </pc:picChg>
        <pc:picChg chg="add mod">
          <ac:chgData name="Леонид Попов" userId="cc02b5965c9bae3b" providerId="LiveId" clId="{FDA48A03-3131-4F2F-A306-07301C63E802}" dt="2020-10-25T17:49:20.271" v="21666" actId="1036"/>
          <ac:picMkLst>
            <pc:docMk/>
            <pc:sldMk cId="4112451551" sldId="2716"/>
            <ac:picMk id="23" creationId="{8367FAC5-B91B-4A65-8D00-BBEE3781A414}"/>
          </ac:picMkLst>
        </pc:pic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8" creationId="{6B206BC4-9424-4956-A1B5-294F17591C5C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0" creationId="{67CBD7A9-37C8-4E4E-9D4A-103A2CB2423D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2" creationId="{C9135597-9A10-46F2-8530-DEEBC38EBD97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56:52.735" v="22636" actId="20577"/>
        <pc:sldMkLst>
          <pc:docMk/>
          <pc:sldMk cId="2717785047" sldId="2717"/>
        </pc:sldMkLst>
        <pc:spChg chg="mod">
          <ac:chgData name="Леонид Попов" userId="cc02b5965c9bae3b" providerId="LiveId" clId="{FDA48A03-3131-4F2F-A306-07301C63E802}" dt="2020-10-25T17:52:09.629" v="21695" actId="20577"/>
          <ac:spMkLst>
            <pc:docMk/>
            <pc:sldMk cId="2717785047" sldId="2717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43:36.830" v="21606" actId="478"/>
          <ac:spMkLst>
            <pc:docMk/>
            <pc:sldMk cId="2717785047" sldId="2717"/>
            <ac:spMk id="25" creationId="{BA68F566-C815-45D9-9EFA-E30F5174EB73}"/>
          </ac:spMkLst>
        </pc:spChg>
        <pc:grpChg chg="del">
          <ac:chgData name="Леонид Попов" userId="cc02b5965c9bae3b" providerId="LiveId" clId="{FDA48A03-3131-4F2F-A306-07301C63E802}" dt="2020-10-25T17:43:34.009" v="21605" actId="478"/>
          <ac:grpSpMkLst>
            <pc:docMk/>
            <pc:sldMk cId="2717785047" sldId="2717"/>
            <ac:grpSpMk id="27" creationId="{4751EE0A-0EF7-4052-91BF-62B45F0823B8}"/>
          </ac:grpSpMkLst>
        </pc:grpChg>
        <pc:picChg chg="add mod">
          <ac:chgData name="Леонид Попов" userId="cc02b5965c9bae3b" providerId="LiveId" clId="{FDA48A03-3131-4F2F-A306-07301C63E802}" dt="2020-10-25T17:52:19.215" v="21698" actId="1076"/>
          <ac:picMkLst>
            <pc:docMk/>
            <pc:sldMk cId="2717785047" sldId="2717"/>
            <ac:picMk id="2" creationId="{D757561A-F686-4695-9E22-9464C654B65A}"/>
          </ac:picMkLst>
        </pc:picChg>
        <pc:picChg chg="del">
          <ac:chgData name="Леонид Попов" userId="cc02b5965c9bae3b" providerId="LiveId" clId="{FDA48A03-3131-4F2F-A306-07301C63E802}" dt="2020-10-25T17:43:34.009" v="21605" actId="478"/>
          <ac:picMkLst>
            <pc:docMk/>
            <pc:sldMk cId="2717785047" sldId="2717"/>
            <ac:picMk id="23" creationId="{8367FAC5-B91B-4A65-8D00-BBEE3781A414}"/>
          </ac:picMkLst>
        </pc:picChg>
      </pc:sldChg>
      <pc:sldChg chg="addSp delSp modSp add mod">
        <pc:chgData name="Леонид Попов" userId="cc02b5965c9bae3b" providerId="LiveId" clId="{FDA48A03-3131-4F2F-A306-07301C63E802}" dt="2020-10-25T17:45:49.771" v="21635" actId="1036"/>
        <pc:sldMkLst>
          <pc:docMk/>
          <pc:sldMk cId="4088160315" sldId="2718"/>
        </pc:sldMkLst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18" creationId="{6D206791-F6F8-41A5-A9C4-18B3E4A220F5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0" creationId="{5CD848AF-0242-489F-9675-EBC288C8B892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1" creationId="{4257C873-83FC-4804-A7E9-F5BB2DD679B8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2" creationId="{D4E6E46D-F95F-4C3C-A0C6-8B5D8BFDF34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5" creationId="{B512C7CD-E652-42AA-9D1F-CE39E410CB50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7" creationId="{FF5A9937-E88C-4994-AB32-80DEF45CCE9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8" creationId="{1A1DC564-82FA-46C0-A6B8-EE4120FD943D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9" creationId="{0F0257E6-6C7D-4C07-8794-1EEF6B9DDA16}"/>
          </ac:spMkLst>
        </pc:spChg>
        <pc:picChg chg="del">
          <ac:chgData name="Леонид Попов" userId="cc02b5965c9bae3b" providerId="LiveId" clId="{FDA48A03-3131-4F2F-A306-07301C63E802}" dt="2020-10-25T17:45:15.275" v="21624" actId="478"/>
          <ac:picMkLst>
            <pc:docMk/>
            <pc:sldMk cId="4088160315" sldId="2718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6" creationId="{554266CB-DED2-4ACF-BE3A-706F57835EE0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7" creationId="{4A6F8A4D-54C1-4558-9D49-A89956CF0C71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3" creationId="{D43EF4BC-3679-429A-864D-D2E049FF621B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4" creationId="{7A40D0C2-863B-4557-901C-078174BAFEF7}"/>
          </ac:picMkLst>
        </pc:picChg>
        <pc:cxnChg chg="add del mod">
          <ac:chgData name="Леонид Попов" userId="cc02b5965c9bae3b" providerId="LiveId" clId="{FDA48A03-3131-4F2F-A306-07301C63E802}" dt="2020-10-25T17:45:42.458" v="21632"/>
          <ac:cxnSpMkLst>
            <pc:docMk/>
            <pc:sldMk cId="4088160315" sldId="2718"/>
            <ac:cxnSpMk id="19" creationId="{6F27ABED-7EA8-4C4F-B328-BABB2229DD4F}"/>
          </ac:cxnSpMkLst>
        </pc:cxnChg>
        <pc:cxnChg chg="add mod">
          <ac:chgData name="Леонид Попов" userId="cc02b5965c9bae3b" providerId="LiveId" clId="{FDA48A03-3131-4F2F-A306-07301C63E802}" dt="2020-10-25T17:45:49.771" v="21635" actId="1036"/>
          <ac:cxnSpMkLst>
            <pc:docMk/>
            <pc:sldMk cId="4088160315" sldId="2718"/>
            <ac:cxnSpMk id="26" creationId="{E1FAD404-7211-42C6-AEF5-678AE078ABD6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37B7DC11-DDBE-4678-95F7-C68FA074C5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90488" y="742950"/>
            <a:ext cx="6616700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6"/>
            <a:ext cx="4984750" cy="446881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7BAF3600-01B7-4D3D-A0CA-AC5E9E63972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9389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72702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z="1200" b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хема работы в запросной системе налогового мониторинга выглядит следующим образом.</a:t>
            </a:r>
          </a:p>
          <a:p>
            <a:r>
              <a:rPr lang="ru-RU" sz="1200" b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оговый инспектор непосредственно</a:t>
            </a:r>
            <a:r>
              <a:rPr lang="ru-RU" sz="1200" b="0" baseline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з налоговых регистров и </a:t>
            </a:r>
            <a:r>
              <a:rPr lang="ru-RU" sz="1200" b="0" baseline="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л</a:t>
            </a:r>
            <a:r>
              <a:rPr lang="en-US" sz="1200" b="0" baseline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lang="ru-RU" sz="1200" b="0" baseline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тчётов создаёт запросы или сначала расшифровывается до учетных документов.</a:t>
            </a:r>
          </a:p>
          <a:p>
            <a:r>
              <a:rPr lang="ru-RU" sz="1200" b="0" baseline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ухгалтер получая запрос оценивает его правомочность и формирует ответ прикладывая к нему запрошенные данные.</a:t>
            </a:r>
          </a:p>
          <a:p>
            <a:r>
              <a:rPr lang="ru-RU" sz="1200" b="0" baseline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оговый инспектор получает ответ и проставляет отметку обработки.</a:t>
            </a:r>
          </a:p>
          <a:p>
            <a:r>
              <a:rPr lang="ru-RU" sz="1200" b="0" baseline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 результатам этой работы формируется отчет о работе </a:t>
            </a:r>
            <a:r>
              <a:rPr lang="ru-RU" sz="1200" b="0" baseline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просной систем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90E10A-8071-4CF6-9931-34C96C66F917}" type="slidenum">
              <a:rPr lang="ru-RU" altLang="ru-RU" smtClean="0"/>
              <a:pPr>
                <a:defRPr/>
              </a:pPr>
              <a:t>1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040688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dirty="0">
                <a:solidFill>
                  <a:srgbClr val="BA3A3B"/>
                </a:solidFill>
              </a:rPr>
              <a:t>Конфигурация обеспечит ввод налоговым инспектором запросов на предоставление документов и разъяснений, а налогоплательщиком - ответов на запросы налогового органа с вложением сканов запрашиваемых первичных документов, а также формирование протоколов информационного взаимодейств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65055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dirty="0">
                <a:solidFill>
                  <a:srgbClr val="BA3A3B"/>
                </a:solidFill>
              </a:rPr>
              <a:t>Запросы являются контекстно-зависимыми, происходит </a:t>
            </a:r>
            <a:r>
              <a:rPr lang="ru-RU" sz="1200" b="0" dirty="0" err="1">
                <a:solidFill>
                  <a:srgbClr val="BA3A3B"/>
                </a:solidFill>
              </a:rPr>
              <a:t>автозаполнение</a:t>
            </a:r>
            <a:r>
              <a:rPr lang="ru-RU" sz="1200" b="0" dirty="0">
                <a:solidFill>
                  <a:srgbClr val="BA3A3B"/>
                </a:solidFill>
              </a:rPr>
              <a:t> формы запроса данными документа или отчета.</a:t>
            </a:r>
          </a:p>
          <a:p>
            <a:r>
              <a:rPr lang="ru-RU" sz="1200" b="0" dirty="0">
                <a:solidFill>
                  <a:srgbClr val="BA3A3B"/>
                </a:solidFill>
              </a:rPr>
              <a:t>По сути почти</a:t>
            </a:r>
            <a:r>
              <a:rPr lang="ru-RU" sz="1200" b="0" baseline="0" dirty="0">
                <a:solidFill>
                  <a:srgbClr val="BA3A3B"/>
                </a:solidFill>
              </a:rPr>
              <a:t> во всех объектах системы реализована такая кнопка. Это позволяет налоговому инспектору быстро создать запрос на основании документа или отчета системы. А сотрудникам компании понят детали запрос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827235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«Управлении</a:t>
            </a:r>
            <a:r>
              <a:rPr lang="ru-RU" baseline="0" dirty="0"/>
              <a:t> холдингом 3.2» реализовано сразу две интеграции с различными механизмами оповещений:</a:t>
            </a:r>
          </a:p>
          <a:p>
            <a:r>
              <a:rPr lang="ru-RU" dirty="0"/>
              <a:t> - Автоматическая</a:t>
            </a:r>
            <a:r>
              <a:rPr lang="ru-RU" baseline="0" dirty="0"/>
              <a:t> р</a:t>
            </a:r>
            <a:r>
              <a:rPr lang="ru-RU" dirty="0"/>
              <a:t>егистрация</a:t>
            </a:r>
            <a:r>
              <a:rPr lang="ru-RU" baseline="0" dirty="0"/>
              <a:t> з</a:t>
            </a:r>
            <a:r>
              <a:rPr lang="ru-RU" dirty="0"/>
              <a:t>апроса</a:t>
            </a:r>
            <a:r>
              <a:rPr lang="ru-RU" baseline="0" dirty="0"/>
              <a:t> н</a:t>
            </a:r>
            <a:r>
              <a:rPr lang="ru-RU" dirty="0"/>
              <a:t>алогового</a:t>
            </a:r>
            <a:r>
              <a:rPr lang="ru-RU" baseline="0" dirty="0"/>
              <a:t> м</a:t>
            </a:r>
            <a:r>
              <a:rPr lang="ru-RU" dirty="0"/>
              <a:t>ониторинга</a:t>
            </a:r>
            <a:r>
              <a:rPr lang="ru-RU" baseline="0" dirty="0"/>
              <a:t> в з</a:t>
            </a:r>
            <a:r>
              <a:rPr lang="ru-RU" dirty="0"/>
              <a:t>адачах</a:t>
            </a:r>
            <a:r>
              <a:rPr lang="ru-RU" baseline="0" dirty="0"/>
              <a:t> б</a:t>
            </a:r>
            <a:r>
              <a:rPr lang="ru-RU" dirty="0"/>
              <a:t>ухгалтера</a:t>
            </a:r>
          </a:p>
          <a:p>
            <a:r>
              <a:rPr lang="ru-RU" dirty="0"/>
              <a:t> - Автоматическая </a:t>
            </a:r>
            <a:r>
              <a:rPr lang="ru-RU" baseline="0" dirty="0"/>
              <a:t>р</a:t>
            </a:r>
            <a:r>
              <a:rPr lang="ru-RU" dirty="0"/>
              <a:t>егистрация</a:t>
            </a:r>
            <a:r>
              <a:rPr lang="ru-RU" baseline="0" dirty="0"/>
              <a:t> з</a:t>
            </a:r>
            <a:r>
              <a:rPr lang="ru-RU" dirty="0"/>
              <a:t>апроса</a:t>
            </a:r>
            <a:r>
              <a:rPr lang="ru-RU" baseline="0" dirty="0"/>
              <a:t> н</a:t>
            </a:r>
            <a:r>
              <a:rPr lang="ru-RU" dirty="0"/>
              <a:t>алогового</a:t>
            </a:r>
            <a:r>
              <a:rPr lang="ru-RU" baseline="0" dirty="0"/>
              <a:t> м</a:t>
            </a:r>
            <a:r>
              <a:rPr lang="ru-RU" dirty="0"/>
              <a:t>ониторинга</a:t>
            </a:r>
            <a:r>
              <a:rPr lang="ru-RU" baseline="0" dirty="0"/>
              <a:t> в о</a:t>
            </a:r>
            <a:r>
              <a:rPr lang="ru-RU" dirty="0"/>
              <a:t>повещениях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526353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FontTx/>
              <a:buNone/>
            </a:pPr>
            <a:r>
              <a:rPr lang="ru-RU" sz="1200" b="0" dirty="0">
                <a:solidFill>
                  <a:srgbClr val="BA3A3B"/>
                </a:solidFill>
              </a:rPr>
              <a:t>В линейке продуктов УХ реализована последовательная расшифровка показателей налоговой декларации до учетного документа</a:t>
            </a:r>
            <a:endParaRPr lang="en-US" altLang="en-US" dirty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470" indent="-285950"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800" indent="-228760"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320" indent="-228760"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840" indent="-228760"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360" indent="-228760" defTabSz="95634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880" indent="-228760" defTabSz="95634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1400" indent="-228760" defTabSz="95634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8920" indent="-228760" defTabSz="95634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67BA547-8DB0-4BAC-93F9-3B35F8087471}" type="slidenum">
              <a:rPr lang="en-US" altLang="en-US" sz="130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4</a:t>
            </a:fld>
            <a:endParaRPr lang="en-US" altLang="en-US" sz="13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997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FontTx/>
              <a:buNone/>
            </a:pPr>
            <a:endParaRPr lang="en-US" altLang="en-US" dirty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470" indent="-285950"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800" indent="-228760"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1320" indent="-228760"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8840" indent="-228760" defTabSz="956344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6360" indent="-228760" defTabSz="95634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3880" indent="-228760" defTabSz="95634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31400" indent="-228760" defTabSz="95634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8920" indent="-228760" defTabSz="95634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67BA547-8DB0-4BAC-93F9-3B35F8087471}" type="slidenum">
              <a:rPr lang="en-US" altLang="en-US" sz="1300"/>
              <a:pPr eaLnBrk="1" hangingPunct="1">
                <a:spcBef>
                  <a:spcPct val="0"/>
                </a:spcBef>
              </a:pPr>
              <a:t>15</a:t>
            </a:fld>
            <a:endParaRPr lang="en-US" altLang="en-US" sz="1300" dirty="0"/>
          </a:p>
        </p:txBody>
      </p:sp>
    </p:spTree>
    <p:extLst>
      <p:ext uri="{BB962C8B-B14F-4D97-AF65-F5344CB8AC3E}">
        <p14:creationId xmlns:p14="http://schemas.microsoft.com/office/powerpoint/2010/main" val="23363461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39159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None/>
              <a:defRPr/>
            </a:pPr>
            <a:r>
              <a:rPr lang="ru-RU" b="1" dirty="0"/>
              <a:t>Подсистема «Управления рисками»</a:t>
            </a:r>
            <a:r>
              <a:rPr lang="ru-RU" dirty="0"/>
              <a:t> продуктов линейки «1С:Управление холдингом» соответствует основным требованиям приказа ФНС №518 и позволяет:</a:t>
            </a:r>
          </a:p>
          <a:p>
            <a:pPr lvl="1">
              <a:defRPr/>
            </a:pPr>
            <a:r>
              <a:rPr lang="ru-RU" sz="2079" dirty="0"/>
              <a:t>выполнить общие требования, предъявляемые к системе внутреннего контроля и управлению рисками</a:t>
            </a:r>
          </a:p>
          <a:p>
            <a:pPr lvl="1">
              <a:defRPr/>
            </a:pPr>
            <a:r>
              <a:rPr lang="ru-RU" sz="2079" dirty="0"/>
              <a:t>вести учет рисков и контрольных процедур в соответствии с требованиями ФНС России </a:t>
            </a:r>
          </a:p>
          <a:p>
            <a:pPr lvl="1">
              <a:defRPr/>
            </a:pPr>
            <a:r>
              <a:rPr lang="ru-RU" sz="2079" dirty="0"/>
              <a:t>формировать и отправлять отчеты, утвержденные ФНС России</a:t>
            </a:r>
          </a:p>
          <a:p>
            <a:pPr lvl="1">
              <a:defRPr/>
            </a:pPr>
            <a:r>
              <a:rPr lang="ru-RU" sz="2079" dirty="0"/>
              <a:t>анализировать информацию по рискам и СВК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179379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z="1200" dirty="0"/>
              <a:t>Основные процессы подсистемы «Управление рисками» ЭТО</a:t>
            </a:r>
          </a:p>
          <a:p>
            <a:pPr lvl="1">
              <a:defRPr/>
            </a:pPr>
            <a:r>
              <a:rPr lang="ru-RU" sz="2079" dirty="0"/>
              <a:t>Регистрация рисков</a:t>
            </a:r>
          </a:p>
          <a:p>
            <a:pPr lvl="1">
              <a:defRPr/>
            </a:pPr>
            <a:r>
              <a:rPr lang="ru-RU" sz="2079" dirty="0"/>
              <a:t>Планирование и регистрация контрольных процедур по предупреждению рисков </a:t>
            </a:r>
          </a:p>
          <a:p>
            <a:pPr lvl="1">
              <a:defRPr/>
            </a:pPr>
            <a:r>
              <a:rPr lang="ru-RU" sz="2079" dirty="0"/>
              <a:t>Планирование реакций на инциденты -  мероприятий для минимизации ущерба от инцидентов реализации рисков</a:t>
            </a:r>
          </a:p>
          <a:p>
            <a:pPr lvl="1">
              <a:defRPr/>
            </a:pPr>
            <a:r>
              <a:rPr lang="ru-RU" sz="2079" dirty="0"/>
              <a:t>Регистрация инцидентов и реакции на них</a:t>
            </a:r>
          </a:p>
          <a:p>
            <a:pPr lvl="1">
              <a:defRPr/>
            </a:pPr>
            <a:r>
              <a:rPr lang="ru-RU" sz="2079" dirty="0"/>
              <a:t>Анализ информации о рисках, контрольных процедурах, инцидентах</a:t>
            </a:r>
          </a:p>
          <a:p>
            <a:pPr lvl="1">
              <a:defRPr/>
            </a:pPr>
            <a:r>
              <a:rPr lang="ru-RU" sz="2079" dirty="0"/>
              <a:t>Заполнение и отправка регламентированной отчетности</a:t>
            </a:r>
            <a:endParaRPr lang="ru-RU" alt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1107745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егистрация рисков</a:t>
            </a:r>
            <a:r>
              <a:rPr lang="ru-RU" baseline="0" dirty="0"/>
              <a:t> для целей исполнения 518 приказа была расширена реквизитами для заполнения регламентированных отчётов.</a:t>
            </a:r>
          </a:p>
          <a:p>
            <a:r>
              <a:rPr lang="ru-RU" baseline="0" dirty="0"/>
              <a:t>Аналогично реквизитный состав расширен и в контрольных процедурах и мероприят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58480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BAF3600-01B7-4D3D-A0CA-AC5E9E639727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32906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2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73011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3239006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Образ слайда 1">
            <a:extLst>
              <a:ext uri="{FF2B5EF4-FFF2-40B4-BE49-F238E27FC236}">
                <a16:creationId xmlns:a16="http://schemas.microsoft.com/office/drawing/2014/main" id="{05D83A5F-37BA-4766-4DAF-FD9C54688D5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2" name="Заметки 2">
            <a:extLst>
              <a:ext uri="{FF2B5EF4-FFF2-40B4-BE49-F238E27FC236}">
                <a16:creationId xmlns:a16="http://schemas.microsoft.com/office/drawing/2014/main" id="{C6A211BF-C27A-E696-A184-5D76210201D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/>
          </a:p>
          <a:p>
            <a:endParaRPr lang="ru-RU" altLang="ru-RU"/>
          </a:p>
        </p:txBody>
      </p:sp>
      <p:sp>
        <p:nvSpPr>
          <p:cNvPr id="20483" name="Номер слайда 3">
            <a:extLst>
              <a:ext uri="{FF2B5EF4-FFF2-40B4-BE49-F238E27FC236}">
                <a16:creationId xmlns:a16="http://schemas.microsoft.com/office/drawing/2014/main" id="{5E154115-3664-83AF-66BC-0150856CA810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0" tIns="45685" rIns="91370" bIns="45685" anchor="b"/>
          <a:lstStyle>
            <a:lvl1pPr defTabSz="912813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12813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12813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12813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12813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spcBef>
                <a:spcPct val="0"/>
              </a:spcBef>
            </a:pPr>
            <a:fld id="{22186B06-0AAB-0945-BF59-1A9E147D5362}" type="slidenum">
              <a:rPr kumimoji="0" lang="ru-RU" altLang="ru-RU" b="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24</a:t>
            </a:fld>
            <a:endParaRPr kumimoji="0" lang="ru-RU" altLang="ru-RU" b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0AD629-4B92-4593-B807-E282DEA2D24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901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ратко</a:t>
            </a:r>
            <a:r>
              <a:rPr lang="ru-RU" baseline="0" dirty="0"/>
              <a:t> рассмотрим некоторые интересные функции.</a:t>
            </a:r>
          </a:p>
          <a:p>
            <a:r>
              <a:rPr lang="ru-RU" baseline="0" dirty="0"/>
              <a:t>Первое это публикация витрины.</a:t>
            </a:r>
          </a:p>
          <a:p>
            <a:r>
              <a:rPr lang="ru-RU" baseline="0" dirty="0"/>
              <a:t>На самом деле этот этап необязательный и налогового инспектора можно пускать в рабочую базу, но так обычно не делают. Создают либо копию либо какую-то специальную витрину.</a:t>
            </a:r>
          </a:p>
          <a:p>
            <a:r>
              <a:rPr lang="ru-RU" baseline="0" dirty="0"/>
              <a:t>В настройках создания витрины можно определить состав данных передаваемых в копию. Интересный пример из практики это когда заказчик запросил чтобы в копию передавались данные проводок только по налоговому о</a:t>
            </a:r>
            <a:r>
              <a:rPr lang="en-US" baseline="0" dirty="0"/>
              <a:t>n</a:t>
            </a:r>
            <a:r>
              <a:rPr lang="ru-RU" baseline="0" dirty="0"/>
              <a:t>чёту и не передавались данные бухгалтерского учета.</a:t>
            </a:r>
          </a:p>
          <a:p>
            <a:r>
              <a:rPr lang="ru-RU" baseline="0" dirty="0"/>
              <a:t>Из новой функциональности реализован частичный обмен данными между витриной и основной базой. Можно как вообще не обмениваться данными с витриной так обмениваться запросами налогового мониторинга чтобы сотрудники компании могли отвечать налоговой со своих рабочих баз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71738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ратко</a:t>
            </a:r>
            <a:r>
              <a:rPr lang="ru-RU" baseline="0" dirty="0"/>
              <a:t> рассмотрим некоторые интересные функции.</a:t>
            </a:r>
          </a:p>
          <a:p>
            <a:r>
              <a:rPr lang="ru-RU" baseline="0" dirty="0"/>
              <a:t>Первое это публикация витрины.</a:t>
            </a:r>
          </a:p>
          <a:p>
            <a:r>
              <a:rPr lang="ru-RU" baseline="0" dirty="0"/>
              <a:t>На самом деле этот этап необязательный и налогового инспектора можно пускать в рабочую базу, но так обычно не делают. Создают либо копию либо какую-то специальную витрину.</a:t>
            </a:r>
          </a:p>
          <a:p>
            <a:r>
              <a:rPr lang="ru-RU" baseline="0" dirty="0"/>
              <a:t>В настройках создания витрины можно определить состав данных передаваемых в копию. Интересный пример из практики это когда заказчик запросил чтобы в копию передавались данные проводок только по налоговому о</a:t>
            </a:r>
            <a:r>
              <a:rPr lang="en-US" baseline="0" dirty="0"/>
              <a:t>n</a:t>
            </a:r>
            <a:r>
              <a:rPr lang="ru-RU" baseline="0" dirty="0"/>
              <a:t>чёту и не передавались данные бухгалтерского учета.</a:t>
            </a:r>
          </a:p>
          <a:p>
            <a:r>
              <a:rPr lang="ru-RU" baseline="0" dirty="0"/>
              <a:t>Из новой функциональности реализован частичный обмен данными между витриной и основной базой. Можно как вообще не обмениваться данными с витриной так обмениваться запросами налогового мониторинга чтобы сотрудники компании могли отвечать налоговой со своих рабочих баз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70093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91838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640390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055903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8241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 системе реализована выгрузка</a:t>
            </a:r>
            <a:r>
              <a:rPr lang="ru-RU" baseline="0" dirty="0"/>
              <a:t> и отправка регламентированных отчётов как для вступления в НМ так и по СВК. Сейчас реализовано больше 20 регламентированных отчётов. По приказам </a:t>
            </a:r>
            <a:r>
              <a:rPr lang="ru-RU" dirty="0"/>
              <a:t>518, </a:t>
            </a:r>
            <a:r>
              <a:rPr lang="ru-RU" sz="1200" b="0" dirty="0">
                <a:solidFill>
                  <a:srgbClr val="BA3A3B"/>
                </a:solidFill>
                <a:latin typeface="Arial" panose="020B0604020202020204" pitchFamily="34" charset="0"/>
              </a:rPr>
              <a:t>476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27743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75638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1929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834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944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9252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106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02023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443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5392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0227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904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50659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4618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028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436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0180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72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4415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9291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724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6883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5535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18722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565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48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55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7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30701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5766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3825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5186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34808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03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559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7716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85354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867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990374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006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78580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79873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836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0899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9265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362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739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304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555081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038369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79657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28279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136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30834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410677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5057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5975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1472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619" y="-4140619"/>
            <a:ext cx="324083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1116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2454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5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836" indent="0">
              <a:buNone/>
              <a:defRPr sz="1890"/>
            </a:lvl2pPr>
            <a:lvl3pPr marL="863671" indent="0">
              <a:buNone/>
              <a:defRPr sz="1701"/>
            </a:lvl3pPr>
            <a:lvl4pPr marL="1295507" indent="0">
              <a:buNone/>
              <a:defRPr sz="1512"/>
            </a:lvl4pPr>
            <a:lvl5pPr marL="1727341" indent="0">
              <a:buNone/>
              <a:defRPr sz="1512"/>
            </a:lvl5pPr>
            <a:lvl6pPr marL="2159178" indent="0">
              <a:buNone/>
              <a:defRPr sz="1512"/>
            </a:lvl6pPr>
            <a:lvl7pPr marL="2591012" indent="0">
              <a:buNone/>
              <a:defRPr sz="1512"/>
            </a:lvl7pPr>
            <a:lvl8pPr marL="3022848" indent="0">
              <a:buNone/>
              <a:defRPr sz="1512"/>
            </a:lvl8pPr>
            <a:lvl9pPr marL="3454684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852713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9819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7" y="1588182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7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2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16868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9516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7094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2"/>
            </a:lvl1pPr>
            <a:lvl2pPr>
              <a:defRPr sz="2644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6687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2"/>
            </a:lvl1pPr>
            <a:lvl2pPr marL="431836" indent="0">
              <a:buNone/>
              <a:defRPr sz="2644"/>
            </a:lvl2pPr>
            <a:lvl3pPr marL="863671" indent="0">
              <a:buNone/>
              <a:defRPr sz="2268"/>
            </a:lvl3pPr>
            <a:lvl4pPr marL="1295507" indent="0">
              <a:buNone/>
              <a:defRPr sz="1890"/>
            </a:lvl4pPr>
            <a:lvl5pPr marL="1727341" indent="0">
              <a:buNone/>
              <a:defRPr sz="1890"/>
            </a:lvl5pPr>
            <a:lvl6pPr marL="2159178" indent="0">
              <a:buNone/>
              <a:defRPr sz="1890"/>
            </a:lvl6pPr>
            <a:lvl7pPr marL="2591012" indent="0">
              <a:buNone/>
              <a:defRPr sz="1890"/>
            </a:lvl7pPr>
            <a:lvl8pPr marL="3022848" indent="0">
              <a:buNone/>
              <a:defRPr sz="1890"/>
            </a:lvl8pPr>
            <a:lvl9pPr marL="3454684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9921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9820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17454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6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9613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290233" y="313515"/>
            <a:ext cx="5761038" cy="561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1795" dirty="0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1795" dirty="0" err="1">
                <a:solidFill>
                  <a:srgbClr val="FFFFFF"/>
                </a:solidFill>
              </a:rPr>
              <a:t>холдингОМ</a:t>
            </a:r>
            <a:r>
              <a:rPr lang="ru-RU" altLang="ru-RU" sz="1795" dirty="0">
                <a:solidFill>
                  <a:srgbClr val="FFFFFF"/>
                </a:solidFill>
              </a:rPr>
              <a:t>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34" y="226507"/>
            <a:ext cx="1224220" cy="723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54974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5463" y="1266907"/>
            <a:ext cx="11250026" cy="496663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1CF282-6ACF-4085-9ADF-8D9C1CF6F6E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296790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3"/>
            <a:ext cx="9793764" cy="1287035"/>
          </a:xfrm>
        </p:spPr>
        <p:txBody>
          <a:bodyPr anchor="t"/>
          <a:lstStyle>
            <a:lvl1pPr algn="l">
              <a:defRPr sz="378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81"/>
            <a:ext cx="9793764" cy="1417538"/>
          </a:xfrm>
        </p:spPr>
        <p:txBody>
          <a:bodyPr anchor="b"/>
          <a:lstStyle>
            <a:lvl1pPr marL="0" indent="0">
              <a:buNone/>
              <a:defRPr sz="1890"/>
            </a:lvl1pPr>
            <a:lvl2pPr marL="432008" indent="0">
              <a:buNone/>
              <a:defRPr sz="1701"/>
            </a:lvl2pPr>
            <a:lvl3pPr marL="864017" indent="0">
              <a:buNone/>
              <a:defRPr sz="1512"/>
            </a:lvl3pPr>
            <a:lvl4pPr marL="1296025" indent="0">
              <a:buNone/>
              <a:defRPr sz="1323"/>
            </a:lvl4pPr>
            <a:lvl5pPr marL="1728033" indent="0">
              <a:buNone/>
              <a:defRPr sz="1323"/>
            </a:lvl5pPr>
            <a:lvl6pPr marL="2160041" indent="0">
              <a:buNone/>
              <a:defRPr sz="1323"/>
            </a:lvl6pPr>
            <a:lvl7pPr marL="2592050" indent="0">
              <a:buNone/>
              <a:defRPr sz="1323"/>
            </a:lvl7pPr>
            <a:lvl8pPr marL="3024058" indent="0">
              <a:buNone/>
              <a:defRPr sz="1323"/>
            </a:lvl8pPr>
            <a:lvl9pPr marL="3456066" indent="0">
              <a:buNone/>
              <a:defRPr sz="132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71AD6D-C170-4723-8E2A-5CB32489295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555759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36024" y="1198538"/>
            <a:ext cx="5528996" cy="4966634"/>
          </a:xfrm>
        </p:spPr>
        <p:txBody>
          <a:bodyPr/>
          <a:lstStyle>
            <a:lvl1pPr>
              <a:defRPr sz="2646"/>
            </a:lvl1pPr>
            <a:lvl2pPr>
              <a:defRPr sz="2268"/>
            </a:lvl2pPr>
            <a:lvl3pPr>
              <a:defRPr sz="1890"/>
            </a:lvl3pPr>
            <a:lvl4pPr>
              <a:defRPr sz="1701"/>
            </a:lvl4pPr>
            <a:lvl5pPr>
              <a:defRPr sz="1701"/>
            </a:lvl5pPr>
            <a:lvl6pPr>
              <a:defRPr sz="1701"/>
            </a:lvl6pPr>
            <a:lvl7pPr>
              <a:defRPr sz="1701"/>
            </a:lvl7pPr>
            <a:lvl8pPr>
              <a:defRPr sz="1701"/>
            </a:lvl8pPr>
            <a:lvl9pPr>
              <a:defRPr sz="17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198538"/>
            <a:ext cx="5528996" cy="4966634"/>
          </a:xfrm>
        </p:spPr>
        <p:txBody>
          <a:bodyPr/>
          <a:lstStyle>
            <a:lvl1pPr>
              <a:defRPr sz="2646"/>
            </a:lvl1pPr>
            <a:lvl2pPr>
              <a:defRPr sz="2268"/>
            </a:lvl2pPr>
            <a:lvl3pPr>
              <a:defRPr sz="1890"/>
            </a:lvl3pPr>
            <a:lvl4pPr>
              <a:defRPr sz="1701"/>
            </a:lvl4pPr>
            <a:lvl5pPr>
              <a:defRPr sz="1701"/>
            </a:lvl5pPr>
            <a:lvl6pPr>
              <a:defRPr sz="1701"/>
            </a:lvl6pPr>
            <a:lvl7pPr>
              <a:defRPr sz="1701"/>
            </a:lvl7pPr>
            <a:lvl8pPr>
              <a:defRPr sz="1701"/>
            </a:lvl8pPr>
            <a:lvl9pPr>
              <a:defRPr sz="17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DF1C0-E9A7-4D63-B683-B732CD00ACD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16218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8"/>
            <a:ext cx="10369868" cy="1080029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6104" y="2055061"/>
            <a:ext cx="5090917" cy="3733601"/>
          </a:xfrm>
        </p:spPr>
        <p:txBody>
          <a:bodyPr/>
          <a:lstStyle>
            <a:lvl1pPr>
              <a:defRPr sz="2268"/>
            </a:lvl1pPr>
            <a:lvl2pPr>
              <a:defRPr sz="1890"/>
            </a:lvl2pPr>
            <a:lvl3pPr>
              <a:defRPr sz="1701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65" y="1450540"/>
            <a:ext cx="5092917" cy="604516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3065" y="2055061"/>
            <a:ext cx="5092917" cy="3733601"/>
          </a:xfrm>
        </p:spPr>
        <p:txBody>
          <a:bodyPr/>
          <a:lstStyle>
            <a:lvl1pPr>
              <a:defRPr sz="2268"/>
            </a:lvl1pPr>
            <a:lvl2pPr>
              <a:defRPr sz="1890"/>
            </a:lvl2pPr>
            <a:lvl3pPr>
              <a:defRPr sz="1701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DE855B-D462-4DB8-849E-2ED7BF9A205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868658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F5F9BE-5C56-4311-AD10-A070B19D222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0504075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5EFFB7-3425-4BB7-9578-97524A640E1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9062462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20" y="258007"/>
            <a:ext cx="3790683" cy="1098030"/>
          </a:xfrm>
        </p:spPr>
        <p:txBody>
          <a:bodyPr anchor="b"/>
          <a:lstStyle>
            <a:lvl1pPr algn="l">
              <a:defRPr sz="189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04811" y="258013"/>
            <a:ext cx="6441160" cy="5530650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20" y="1356043"/>
            <a:ext cx="3790683" cy="4432620"/>
          </a:xfrm>
        </p:spPr>
        <p:txBody>
          <a:bodyPr/>
          <a:lstStyle>
            <a:lvl1pPr marL="0" indent="0">
              <a:buNone/>
              <a:defRPr sz="1323"/>
            </a:lvl1pPr>
            <a:lvl2pPr marL="432008" indent="0">
              <a:buNone/>
              <a:defRPr sz="1134"/>
            </a:lvl2pPr>
            <a:lvl3pPr marL="864017" indent="0">
              <a:buNone/>
              <a:defRPr sz="945"/>
            </a:lvl3pPr>
            <a:lvl4pPr marL="1296025" indent="0">
              <a:buNone/>
              <a:defRPr sz="850"/>
            </a:lvl4pPr>
            <a:lvl5pPr marL="1728033" indent="0">
              <a:buNone/>
              <a:defRPr sz="850"/>
            </a:lvl5pPr>
            <a:lvl6pPr marL="2160041" indent="0">
              <a:buNone/>
              <a:defRPr sz="850"/>
            </a:lvl6pPr>
            <a:lvl7pPr marL="2592050" indent="0">
              <a:buNone/>
              <a:defRPr sz="850"/>
            </a:lvl7pPr>
            <a:lvl8pPr marL="3024058" indent="0">
              <a:buNone/>
              <a:defRPr sz="850"/>
            </a:lvl8pPr>
            <a:lvl9pPr marL="3456066" indent="0">
              <a:buNone/>
              <a:defRPr sz="8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086D0-E710-4988-BD15-936AC9A9BF9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59301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9736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8"/>
            <a:ext cx="6913245" cy="535515"/>
          </a:xfrm>
        </p:spPr>
        <p:txBody>
          <a:bodyPr anchor="b"/>
          <a:lstStyle>
            <a:lvl1pPr algn="l">
              <a:defRPr sz="189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21"/>
            <a:ext cx="6913245" cy="3888105"/>
          </a:xfrm>
        </p:spPr>
        <p:txBody>
          <a:bodyPr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7"/>
            <a:ext cx="6913245" cy="760520"/>
          </a:xfrm>
        </p:spPr>
        <p:txBody>
          <a:bodyPr/>
          <a:lstStyle>
            <a:lvl1pPr marL="0" indent="0">
              <a:buNone/>
              <a:defRPr sz="1323"/>
            </a:lvl1pPr>
            <a:lvl2pPr marL="432008" indent="0">
              <a:buNone/>
              <a:defRPr sz="1134"/>
            </a:lvl2pPr>
            <a:lvl3pPr marL="864017" indent="0">
              <a:buNone/>
              <a:defRPr sz="945"/>
            </a:lvl3pPr>
            <a:lvl4pPr marL="1296025" indent="0">
              <a:buNone/>
              <a:defRPr sz="850"/>
            </a:lvl4pPr>
            <a:lvl5pPr marL="1728033" indent="0">
              <a:buNone/>
              <a:defRPr sz="850"/>
            </a:lvl5pPr>
            <a:lvl6pPr marL="2160041" indent="0">
              <a:buNone/>
              <a:defRPr sz="850"/>
            </a:lvl6pPr>
            <a:lvl7pPr marL="2592050" indent="0">
              <a:buNone/>
              <a:defRPr sz="850"/>
            </a:lvl7pPr>
            <a:lvl8pPr marL="3024058" indent="0">
              <a:buNone/>
              <a:defRPr sz="850"/>
            </a:lvl8pPr>
            <a:lvl9pPr marL="3456066" indent="0">
              <a:buNone/>
              <a:defRPr sz="8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C541F-C761-4DA4-9578-88A4F4CB1C4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249128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07D93-E112-41A4-87BD-150C77AF384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352827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573548" y="-25501"/>
            <a:ext cx="2812507" cy="619066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36031" y="-25501"/>
            <a:ext cx="8245485" cy="619066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529C2D-0D94-4343-BCF3-B049E30A4E1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093380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0370" y="-25501"/>
            <a:ext cx="6079095" cy="102152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36024" y="1198538"/>
            <a:ext cx="5528996" cy="496663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857055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5857055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EE0658-938F-4976-80CA-35FB727980A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675119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2040370" y="-25501"/>
            <a:ext cx="6079095" cy="102152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36024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857055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36024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7055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92B96-2410-4028-ADE9-07991EB55F8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466206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30006" y="6165172"/>
            <a:ext cx="2926186" cy="380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altLang="ru-RU" sz="1701" b="0" dirty="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867" y="297009"/>
            <a:ext cx="6305135" cy="2970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84069" y="1134031"/>
            <a:ext cx="5256947" cy="47176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833050" y="1134030"/>
            <a:ext cx="5256947" cy="2286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833050" y="3564096"/>
            <a:ext cx="5256947" cy="2287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80476-50E6-4D6E-850F-BD69A5C5959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078643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0057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ags" Target="../tags/tag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ags" Target="../tags/tag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8" name="Picture 16" descr="Layer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400" b="0">
              <a:latin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803" r:id="rId1"/>
    <p:sldLayoutId id="2147486804" r:id="rId2"/>
    <p:sldLayoutId id="2147486805" r:id="rId3"/>
    <p:sldLayoutId id="2147486806" r:id="rId4"/>
    <p:sldLayoutId id="2147486807" r:id="rId5"/>
    <p:sldLayoutId id="2147486808" r:id="rId6"/>
    <p:sldLayoutId id="2147486809" r:id="rId7"/>
    <p:sldLayoutId id="2147486810" r:id="rId8"/>
    <p:sldLayoutId id="2147486811" r:id="rId9"/>
    <p:sldLayoutId id="2147486812" r:id="rId10"/>
    <p:sldLayoutId id="2147486813" r:id="rId11"/>
    <p:sldLayoutId id="2147486814" r:id="rId12"/>
    <p:sldLayoutId id="214748681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3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7" r:id="rId1"/>
    <p:sldLayoutId id="2147486818" r:id="rId2"/>
    <p:sldLayoutId id="2147486819" r:id="rId3"/>
    <p:sldLayoutId id="2147486820" r:id="rId4"/>
    <p:sldLayoutId id="2147486821" r:id="rId5"/>
    <p:sldLayoutId id="2147486822" r:id="rId6"/>
    <p:sldLayoutId id="2147486823" r:id="rId7"/>
    <p:sldLayoutId id="2147486824" r:id="rId8"/>
    <p:sldLayoutId id="2147486825" r:id="rId9"/>
    <p:sldLayoutId id="2147486826" r:id="rId10"/>
    <p:sldLayoutId id="2147486827" r:id="rId11"/>
    <p:sldLayoutId id="2147486828" r:id="rId12"/>
    <p:sldLayoutId id="214748682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03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1" r:id="rId1"/>
    <p:sldLayoutId id="2147486832" r:id="rId2"/>
    <p:sldLayoutId id="2147486833" r:id="rId3"/>
    <p:sldLayoutId id="2147486834" r:id="rId4"/>
    <p:sldLayoutId id="2147486835" r:id="rId5"/>
    <p:sldLayoutId id="2147486836" r:id="rId6"/>
    <p:sldLayoutId id="2147486837" r:id="rId7"/>
    <p:sldLayoutId id="2147486838" r:id="rId8"/>
    <p:sldLayoutId id="2147486839" r:id="rId9"/>
    <p:sldLayoutId id="2147486840" r:id="rId10"/>
    <p:sldLayoutId id="21474868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370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3" r:id="rId1"/>
    <p:sldLayoutId id="2147486844" r:id="rId2"/>
    <p:sldLayoutId id="2147486845" r:id="rId3"/>
    <p:sldLayoutId id="2147486846" r:id="rId4"/>
    <p:sldLayoutId id="2147486847" r:id="rId5"/>
    <p:sldLayoutId id="2147486848" r:id="rId6"/>
    <p:sldLayoutId id="2147486849" r:id="rId7"/>
    <p:sldLayoutId id="2147486850" r:id="rId8"/>
    <p:sldLayoutId id="2147486851" r:id="rId9"/>
    <p:sldLayoutId id="2147486852" r:id="rId10"/>
    <p:sldLayoutId id="21474868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5" y="3528744"/>
            <a:ext cx="171729" cy="3510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0982"/>
            <a:ext cx="7267309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60" y="5961284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3844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3844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5" y="3527242"/>
            <a:ext cx="171729" cy="35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50" y="109478"/>
            <a:ext cx="1618291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27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5" r:id="rId1"/>
    <p:sldLayoutId id="2147486856" r:id="rId2"/>
    <p:sldLayoutId id="2147486857" r:id="rId3"/>
    <p:sldLayoutId id="2147486858" r:id="rId4"/>
    <p:sldLayoutId id="2147486859" r:id="rId5"/>
    <p:sldLayoutId id="2147486860" r:id="rId6"/>
    <p:sldLayoutId id="2147486861" r:id="rId7"/>
    <p:sldLayoutId id="2147486862" r:id="rId8"/>
    <p:sldLayoutId id="2147486863" r:id="rId9"/>
    <p:sldLayoutId id="2147486864" r:id="rId10"/>
    <p:sldLayoutId id="214748686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83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67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50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34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3876" indent="-323876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732" indent="-26989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588" indent="-21591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424" indent="-21591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261" indent="-215917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095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6931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8766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0602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836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67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507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34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17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012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284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4684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2132400" y="144004"/>
            <a:ext cx="6079095" cy="1021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1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2026" y="1288541"/>
            <a:ext cx="11250026" cy="4945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267175"/>
            <a:ext cx="10297855" cy="2385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323">
                <a:solidFill>
                  <a:srgbClr val="5B0917"/>
                </a:solidFill>
              </a:defRPr>
            </a:lvl1pPr>
          </a:lstStyle>
          <a:p>
            <a:pPr eaLnBrk="1" hangingPunct="1">
              <a:defRPr/>
            </a:pPr>
            <a:r>
              <a:rPr lang="ru-RU" altLang="ru-RU" b="0" dirty="0">
                <a:latin typeface="Arial" charset="0"/>
                <a:cs typeface="Arial" charset="0"/>
              </a:rPr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387872" y="6234168"/>
            <a:ext cx="966173" cy="2460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945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4B055D6D-AF42-45FE-8392-2D1D9DED2C91}" type="slidenum">
              <a:rPr lang="ru-RU" altLang="ru-RU">
                <a:latin typeface="Arial" charset="0"/>
                <a:cs typeface="Arial" charset="0"/>
              </a:rPr>
              <a:pPr>
                <a:defRPr/>
              </a:pPr>
              <a:t>‹#›</a:t>
            </a:fld>
            <a:endParaRPr lang="ru-RU" altLang="ru-RU" dirty="0">
              <a:latin typeface="Arial" charset="0"/>
              <a:cs typeface="Arial" charset="0"/>
            </a:endParaRPr>
          </a:p>
        </p:txBody>
      </p:sp>
      <p:pic>
        <p:nvPicPr>
          <p:cNvPr id="2054" name="Picture 16" descr="Layer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33" y="136504"/>
            <a:ext cx="1952352" cy="115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2422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7" r:id="rId1"/>
    <p:sldLayoutId id="2147486868" r:id="rId2"/>
    <p:sldLayoutId id="2147486869" r:id="rId3"/>
    <p:sldLayoutId id="2147486870" r:id="rId4"/>
    <p:sldLayoutId id="2147486871" r:id="rId5"/>
    <p:sldLayoutId id="2147486872" r:id="rId6"/>
    <p:sldLayoutId id="2147486873" r:id="rId7"/>
    <p:sldLayoutId id="2147486874" r:id="rId8"/>
    <p:sldLayoutId id="2147486875" r:id="rId9"/>
    <p:sldLayoutId id="2147486876" r:id="rId10"/>
    <p:sldLayoutId id="2147486877" r:id="rId11"/>
    <p:sldLayoutId id="2147486878" r:id="rId12"/>
    <p:sldLayoutId id="2147486879" r:id="rId13"/>
    <p:sldLayoutId id="2147486880" r:id="rId14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5pPr>
      <a:lvl6pPr marL="432008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6pPr>
      <a:lvl7pPr marL="864017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7pPr>
      <a:lvl8pPr marL="1296025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8pPr>
      <a:lvl9pPr marL="1728033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9pPr>
    </p:titleStyle>
    <p:bodyStyle>
      <a:lvl1pPr marL="324006" indent="-324006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079">
          <a:solidFill>
            <a:srgbClr val="5B0917"/>
          </a:solidFill>
          <a:latin typeface="+mn-lt"/>
          <a:ea typeface="+mn-ea"/>
          <a:cs typeface="+mn-cs"/>
        </a:defRPr>
      </a:lvl1pPr>
      <a:lvl2pPr marL="702013" indent="-270005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1890">
          <a:solidFill>
            <a:srgbClr val="5B0917"/>
          </a:solidFill>
          <a:latin typeface="+mn-lt"/>
        </a:defRPr>
      </a:lvl2pPr>
      <a:lvl3pPr marL="1080021" indent="-216004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512029" indent="-216004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512">
          <a:solidFill>
            <a:srgbClr val="5B0917"/>
          </a:solidFill>
          <a:latin typeface="+mn-lt"/>
        </a:defRPr>
      </a:lvl4pPr>
      <a:lvl5pPr marL="1944037" indent="-216004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5pPr>
      <a:lvl6pPr marL="2376046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6pPr>
      <a:lvl7pPr marL="2808054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7pPr>
      <a:lvl8pPr marL="3240062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8pPr>
      <a:lvl9pPr marL="3672070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1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v8.1c.ru/cpm/poleznye-materialy/video/" TargetMode="External"/><Relationship Id="rId3" Type="http://schemas.openxmlformats.org/officeDocument/2006/relationships/hyperlink" Target="https://v8.1c.ru/cpm-erp/" TargetMode="External"/><Relationship Id="rId7" Type="http://schemas.openxmlformats.org/officeDocument/2006/relationships/hyperlink" Target="https://v8.1c.ru/cpm/poleznye-materialy/presentations/" TargetMode="External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v8.1c.ru/cpm/" TargetMode="External"/><Relationship Id="rId11" Type="http://schemas.openxmlformats.org/officeDocument/2006/relationships/hyperlink" Target="https://www.youtube.com/channel/UCcqLClFBq1HOSUDEDBLygFg" TargetMode="External"/><Relationship Id="rId5" Type="http://schemas.openxmlformats.org/officeDocument/2006/relationships/hyperlink" Target="https://v8.1c.ru/cpm-erp/poleznye-materialy/video/" TargetMode="External"/><Relationship Id="rId10" Type="http://schemas.openxmlformats.org/officeDocument/2006/relationships/hyperlink" Target="https://v8.1c.ru/cpm/assets/" TargetMode="External"/><Relationship Id="rId4" Type="http://schemas.openxmlformats.org/officeDocument/2006/relationships/hyperlink" Target="https://v8.1c.ru/cpm-erp/poleznye-materialy/presentations/" TargetMode="External"/><Relationship Id="rId9" Type="http://schemas.openxmlformats.org/officeDocument/2006/relationships/hyperlink" Target="https://v8.1c.ru/cpm/istorii-uspekha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логовый мониторинг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1С:</a:t>
            </a:r>
            <a:r>
              <a:rPr lang="en-US" dirty="0"/>
              <a:t>ERP.</a:t>
            </a:r>
            <a:r>
              <a:rPr lang="ru-RU" dirty="0"/>
              <a:t>Управление холдингом</a:t>
            </a:r>
            <a:endParaRPr lang="en-US" dirty="0"/>
          </a:p>
          <a:p>
            <a:r>
              <a:rPr lang="ru-RU" dirty="0"/>
              <a:t>1С:Управление холдингом</a:t>
            </a:r>
            <a:endParaRPr lang="en-US" dirty="0"/>
          </a:p>
          <a:p>
            <a:r>
              <a:rPr lang="ru-RU" dirty="0"/>
              <a:t>1С:Налоговый мониторинг. Бухгалтерия КОРП МСФО</a:t>
            </a:r>
          </a:p>
        </p:txBody>
      </p:sp>
    </p:spTree>
    <p:extLst>
      <p:ext uri="{BB962C8B-B14F-4D97-AF65-F5344CB8AC3E}">
        <p14:creationId xmlns:p14="http://schemas.microsoft.com/office/powerpoint/2010/main" val="3378711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8"/>
          <p:cNvSpPr txBox="1">
            <a:spLocks noChangeArrowheads="1"/>
          </p:cNvSpPr>
          <p:nvPr/>
        </p:nvSpPr>
        <p:spPr bwMode="auto">
          <a:xfrm>
            <a:off x="1296541" y="27399"/>
            <a:ext cx="7754871" cy="659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eaLnBrk="1" hangingPunct="1">
              <a:defRPr sz="2079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dirty="0"/>
              <a:t>Схема работы запросной системы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8589" y="687360"/>
            <a:ext cx="8709273" cy="5767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0862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8629" y="786500"/>
            <a:ext cx="6967359" cy="5549931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ECCBC75B-19ED-445F-BDC5-F37614336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7350" y="-273"/>
            <a:ext cx="7343775" cy="615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z="2079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eaLnBrk="1" hangingPunct="1"/>
            <a:r>
              <a:rPr lang="ru-RU" sz="2079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Форма запроса данных налоговым инспектором</a:t>
            </a:r>
          </a:p>
        </p:txBody>
      </p:sp>
      <p:sp>
        <p:nvSpPr>
          <p:cNvPr id="8" name="Прямоугольная выноска 7"/>
          <p:cNvSpPr/>
          <p:nvPr/>
        </p:nvSpPr>
        <p:spPr bwMode="auto">
          <a:xfrm>
            <a:off x="6272070" y="3600127"/>
            <a:ext cx="4104455" cy="1800200"/>
          </a:xfrm>
          <a:prstGeom prst="wedgeRectCallout">
            <a:avLst>
              <a:gd name="adj1" fmla="val -34618"/>
              <a:gd name="adj2" fmla="val -85024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Конфигурация обеспечит ввод налоговым инспектором запросов на предоставление документов и разъяснений, а налогоплательщиком - ответов на запросы налогового органа с вложением сканов запрашиваемых первичных документов, а также формирование протоколов информационного взаимодействия.</a:t>
            </a:r>
          </a:p>
        </p:txBody>
      </p:sp>
    </p:spTree>
    <p:extLst>
      <p:ext uri="{BB962C8B-B14F-4D97-AF65-F5344CB8AC3E}">
        <p14:creationId xmlns:p14="http://schemas.microsoft.com/office/powerpoint/2010/main" val="761385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2645" y="830166"/>
            <a:ext cx="7632848" cy="5506265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ECCBC75B-19ED-445F-BDC5-F37614336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7350" y="-273"/>
            <a:ext cx="7343775" cy="615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z="2079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eaLnBrk="1" hangingPunct="1"/>
            <a:r>
              <a:rPr lang="ru-RU" sz="2079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Контекстный запрос документов</a:t>
            </a:r>
          </a:p>
        </p:txBody>
      </p:sp>
      <p:sp>
        <p:nvSpPr>
          <p:cNvPr id="7" name="Прямоугольная выноска 6"/>
          <p:cNvSpPr/>
          <p:nvPr/>
        </p:nvSpPr>
        <p:spPr bwMode="auto">
          <a:xfrm>
            <a:off x="1043049" y="2699872"/>
            <a:ext cx="4104455" cy="1423088"/>
          </a:xfrm>
          <a:prstGeom prst="wedgeRectCallout">
            <a:avLst>
              <a:gd name="adj1" fmla="val 9072"/>
              <a:gd name="adj2" fmla="val -120068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Запросы являются контекстно-зависимыми, происходит </a:t>
            </a:r>
            <a:r>
              <a:rPr lang="ru-RU" sz="1400" b="0" dirty="0" err="1">
                <a:solidFill>
                  <a:srgbClr val="BA3A3B"/>
                </a:solidFill>
              </a:rPr>
              <a:t>автозаполнение</a:t>
            </a:r>
            <a:r>
              <a:rPr lang="ru-RU" sz="1400" b="0" dirty="0">
                <a:solidFill>
                  <a:srgbClr val="BA3A3B"/>
                </a:solidFill>
              </a:rPr>
              <a:t> формы запроса данными документа или отчета.</a:t>
            </a:r>
          </a:p>
        </p:txBody>
      </p:sp>
    </p:spTree>
    <p:extLst>
      <p:ext uri="{BB962C8B-B14F-4D97-AF65-F5344CB8AC3E}">
        <p14:creationId xmlns:p14="http://schemas.microsoft.com/office/powerpoint/2010/main" val="28042467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11" y="935831"/>
            <a:ext cx="8832439" cy="5093553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12565" y="47210"/>
            <a:ext cx="7200000" cy="720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r>
              <a:rPr lang="ru-RU" sz="2079" b="1" dirty="0"/>
              <a:t>Оповещения бухгалтера о запросах налогового инспектор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b="63831"/>
          <a:stretch/>
        </p:blipFill>
        <p:spPr>
          <a:xfrm>
            <a:off x="6963444" y="4968279"/>
            <a:ext cx="4489581" cy="1229726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13641262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433" b="50000"/>
          <a:stretch/>
        </p:blipFill>
        <p:spPr>
          <a:xfrm>
            <a:off x="3272916" y="2383406"/>
            <a:ext cx="4089140" cy="1798182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0" name="Picture 11" descr="PPT1E6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2979" y="994738"/>
            <a:ext cx="4089140" cy="2287760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000"/>
                  </a:srgbClr>
                </a:solidFill>
              </a14:hiddenFill>
            </a:ext>
          </a:extLst>
        </p:spPr>
      </p:pic>
      <p:sp>
        <p:nvSpPr>
          <p:cNvPr id="15" name="Прямоугольная выноска 14"/>
          <p:cNvSpPr/>
          <p:nvPr/>
        </p:nvSpPr>
        <p:spPr bwMode="auto">
          <a:xfrm>
            <a:off x="792485" y="2383411"/>
            <a:ext cx="2313390" cy="3033984"/>
          </a:xfrm>
          <a:prstGeom prst="wedgeRectCallout">
            <a:avLst>
              <a:gd name="adj1" fmla="val 56670"/>
              <a:gd name="adj2" fmla="val -19402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Последовательная расшифровка показателей налоговой декларации до учетного документа полностью поддерживается  в решениях с подсистемой </a:t>
            </a:r>
            <a:r>
              <a:rPr lang="ru-RU" sz="1400" b="0" dirty="0" err="1">
                <a:solidFill>
                  <a:srgbClr val="BA3A3B"/>
                </a:solidFill>
              </a:rPr>
              <a:t>БухКорп</a:t>
            </a:r>
            <a:r>
              <a:rPr lang="ru-RU" sz="1400" b="0" dirty="0">
                <a:solidFill>
                  <a:srgbClr val="BA3A3B"/>
                </a:solidFill>
              </a:rPr>
              <a:t>. В решениях с  подсистемой ЕРП расшифровка возможна средствами регистров налогового учёта. </a:t>
            </a:r>
          </a:p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endParaRPr lang="ru-RU" sz="1400" b="0" dirty="0">
              <a:solidFill>
                <a:srgbClr val="BA3A3B"/>
              </a:solidFill>
            </a:endParaRPr>
          </a:p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endParaRPr lang="ru-RU" sz="1400" b="0" dirty="0">
              <a:solidFill>
                <a:srgbClr val="BA3A3B"/>
              </a:solidFill>
            </a:endParaRPr>
          </a:p>
        </p:txBody>
      </p:sp>
      <p:sp>
        <p:nvSpPr>
          <p:cNvPr id="13" name="Rectangle 8"/>
          <p:cNvSpPr txBox="1">
            <a:spLocks noChangeArrowheads="1"/>
          </p:cNvSpPr>
          <p:nvPr/>
        </p:nvSpPr>
        <p:spPr bwMode="auto">
          <a:xfrm>
            <a:off x="1872605" y="42165"/>
            <a:ext cx="7358521" cy="1021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2079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2pPr>
            <a:lvl3pPr eaLnBrk="1" hangingPunct="1"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3pPr>
            <a:lvl4pPr eaLnBrk="1" hangingPunct="1"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4pPr>
            <a:lvl5pPr eaLnBrk="1" hangingPunct="1"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9pPr>
          </a:lstStyle>
          <a:p>
            <a:r>
              <a:rPr lang="ru-RU" altLang="en-US" dirty="0"/>
              <a:t>Наглядная расшифровка показателей налоговых деклараций и их взаимосвязей</a:t>
            </a:r>
            <a:endParaRPr lang="ru-RU" altLang="ru-RU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2072" y="4656093"/>
            <a:ext cx="2921726" cy="1691085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6" r="21964" b="26052"/>
          <a:stretch/>
        </p:blipFill>
        <p:spPr>
          <a:xfrm>
            <a:off x="4970376" y="3920501"/>
            <a:ext cx="4185960" cy="1795393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cxnSp>
        <p:nvCxnSpPr>
          <p:cNvPr id="18" name="Прямая со стрелкой 69"/>
          <p:cNvCxnSpPr/>
          <p:nvPr/>
        </p:nvCxnSpPr>
        <p:spPr bwMode="auto">
          <a:xfrm rot="5400000">
            <a:off x="4116526" y="1556949"/>
            <a:ext cx="912383" cy="740542"/>
          </a:xfrm>
          <a:prstGeom prst="bentConnector3">
            <a:avLst>
              <a:gd name="adj1" fmla="val 1323"/>
            </a:avLst>
          </a:prstGeom>
          <a:ln w="3810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69"/>
          <p:cNvCxnSpPr/>
          <p:nvPr/>
        </p:nvCxnSpPr>
        <p:spPr bwMode="auto">
          <a:xfrm>
            <a:off x="7362057" y="3512256"/>
            <a:ext cx="846886" cy="572176"/>
          </a:xfrm>
          <a:prstGeom prst="bentConnector3">
            <a:avLst>
              <a:gd name="adj1" fmla="val 99827"/>
            </a:avLst>
          </a:prstGeom>
          <a:ln w="3810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69"/>
          <p:cNvCxnSpPr/>
          <p:nvPr/>
        </p:nvCxnSpPr>
        <p:spPr bwMode="auto">
          <a:xfrm rot="5400000">
            <a:off x="6492621" y="5302099"/>
            <a:ext cx="313876" cy="827591"/>
          </a:xfrm>
          <a:prstGeom prst="bentConnector2">
            <a:avLst/>
          </a:prstGeom>
          <a:ln w="38100">
            <a:solidFill>
              <a:schemeClr val="bg1">
                <a:lumMod val="50000"/>
              </a:schemeClr>
            </a:solidFill>
            <a:prstDash val="sysDash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3726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58" b="50000"/>
          <a:stretch/>
        </p:blipFill>
        <p:spPr>
          <a:xfrm>
            <a:off x="1728589" y="1390716"/>
            <a:ext cx="5895651" cy="2110639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674"/>
          <a:stretch/>
        </p:blipFill>
        <p:spPr>
          <a:xfrm>
            <a:off x="1754699" y="3501354"/>
            <a:ext cx="7318706" cy="2732532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1" name="Rectangle 8"/>
          <p:cNvSpPr txBox="1">
            <a:spLocks noChangeArrowheads="1"/>
          </p:cNvSpPr>
          <p:nvPr/>
        </p:nvSpPr>
        <p:spPr bwMode="auto">
          <a:xfrm>
            <a:off x="1751342" y="161694"/>
            <a:ext cx="7358521" cy="1021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eaLnBrk="1" hangingPunct="1">
              <a:defRPr sz="2079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2pPr>
            <a:lvl3pPr eaLnBrk="1" hangingPunct="1"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3pPr>
            <a:lvl4pPr eaLnBrk="1" hangingPunct="1"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4pPr>
            <a:lvl5pPr eaLnBrk="1" hangingPunct="1"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9pPr>
          </a:lstStyle>
          <a:p>
            <a:r>
              <a:rPr lang="ru-RU" altLang="en-US" dirty="0"/>
              <a:t>Возможность сравнения первичной и уточненной налоговых деклараций</a:t>
            </a:r>
            <a:endParaRPr lang="ru-RU" altLang="ru-RU" dirty="0"/>
          </a:p>
        </p:txBody>
      </p:sp>
      <p:sp>
        <p:nvSpPr>
          <p:cNvPr id="9" name="Прямоугольная выноска 8"/>
          <p:cNvSpPr/>
          <p:nvPr/>
        </p:nvSpPr>
        <p:spPr bwMode="auto">
          <a:xfrm>
            <a:off x="7218158" y="1511895"/>
            <a:ext cx="2313390" cy="2181316"/>
          </a:xfrm>
          <a:prstGeom prst="wedgeRectCallout">
            <a:avLst>
              <a:gd name="adj1" fmla="val -56262"/>
              <a:gd name="adj2" fmla="val 91595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В результате сравнения первичной и уточненной налоговой деклараций программа позволяет видеть абсолютные и относительные разницы в изменении показателей декларации</a:t>
            </a:r>
            <a:br>
              <a:rPr lang="ru-RU" sz="1400" b="0" dirty="0">
                <a:solidFill>
                  <a:srgbClr val="BA3A3B"/>
                </a:solidFill>
              </a:rPr>
            </a:br>
            <a:r>
              <a:rPr lang="ru-RU" sz="1400" b="0" dirty="0">
                <a:solidFill>
                  <a:srgbClr val="BA3A3B"/>
                </a:solidFill>
              </a:rPr>
              <a:t>и расшифровать эти изменения</a:t>
            </a:r>
          </a:p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endParaRPr lang="ru-RU" sz="1400" b="0" dirty="0">
              <a:solidFill>
                <a:srgbClr val="BA3A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4433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истема Внутреннего контроля и управления рискам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1С:</a:t>
            </a:r>
            <a:r>
              <a:rPr lang="en-US" dirty="0"/>
              <a:t>ERP.</a:t>
            </a:r>
            <a:r>
              <a:rPr lang="ru-RU" dirty="0"/>
              <a:t>Управление холдингом</a:t>
            </a:r>
          </a:p>
          <a:p>
            <a:r>
              <a:rPr lang="ru-RU" dirty="0"/>
              <a:t>1С:Управление холдингом</a:t>
            </a:r>
            <a:endParaRPr lang="en-US" dirty="0"/>
          </a:p>
          <a:p>
            <a:r>
              <a:rPr lang="ru-RU" dirty="0"/>
              <a:t>1С:Налоговый мониторинг. Бухгалтерия КОРП МСФО</a:t>
            </a:r>
          </a:p>
        </p:txBody>
      </p:sp>
    </p:spTree>
    <p:extLst>
      <p:ext uri="{BB962C8B-B14F-4D97-AF65-F5344CB8AC3E}">
        <p14:creationId xmlns:p14="http://schemas.microsoft.com/office/powerpoint/2010/main" val="10065475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2"/>
          <p:cNvSpPr>
            <a:spLocks noGrp="1" noChangeArrowheads="1"/>
          </p:cNvSpPr>
          <p:nvPr>
            <p:ph type="title"/>
          </p:nvPr>
        </p:nvSpPr>
        <p:spPr>
          <a:xfrm>
            <a:off x="576461" y="0"/>
            <a:ext cx="8893175" cy="102235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r>
              <a:rPr lang="ru-RU" altLang="ru-RU" sz="2079" dirty="0"/>
              <a:t>Реализация основных требований законодательства к СВК и УР в продуктах линейки «1С:Управление холдингом»</a:t>
            </a:r>
          </a:p>
        </p:txBody>
      </p:sp>
      <p:sp>
        <p:nvSpPr>
          <p:cNvPr id="17411" name="Объект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  <a:defRPr/>
            </a:pPr>
            <a:r>
              <a:rPr lang="ru-RU" b="1" dirty="0"/>
              <a:t>Подсистема «Управления рисками»</a:t>
            </a:r>
            <a:r>
              <a:rPr lang="ru-RU" dirty="0"/>
              <a:t> продуктов линейки «1С:Управление холдингом» соответствует основным требованиям приказа ФНС России от 25.05.2021 № ЕД-7-23/518@ и позволяет:</a:t>
            </a:r>
          </a:p>
          <a:p>
            <a:pPr lvl="1">
              <a:defRPr/>
            </a:pPr>
            <a:r>
              <a:rPr lang="ru-RU" sz="2079" dirty="0"/>
              <a:t>выполнить общие требования, предъявляемые к системе внутреннего контроля и управлению рисками</a:t>
            </a:r>
          </a:p>
          <a:p>
            <a:pPr lvl="1">
              <a:defRPr/>
            </a:pPr>
            <a:r>
              <a:rPr lang="ru-RU" sz="2079" dirty="0"/>
              <a:t>вести учет рисков и контрольных процедур в соответствии с требованиями ФНС России </a:t>
            </a:r>
          </a:p>
          <a:p>
            <a:pPr lvl="1">
              <a:defRPr/>
            </a:pPr>
            <a:r>
              <a:rPr lang="ru-RU" sz="2079" dirty="0"/>
              <a:t>формировать и отправлять отчеты, утвержденные ФНС России</a:t>
            </a:r>
          </a:p>
          <a:p>
            <a:pPr lvl="1">
              <a:defRPr/>
            </a:pPr>
            <a:r>
              <a:rPr lang="ru-RU" sz="2079" dirty="0"/>
              <a:t>анализировать информацию по рискам и СВК</a:t>
            </a:r>
          </a:p>
          <a:p>
            <a:pPr>
              <a:defRPr/>
            </a:pP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075649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2"/>
          <p:cNvSpPr>
            <a:spLocks noGrp="1" noChangeArrowheads="1"/>
          </p:cNvSpPr>
          <p:nvPr>
            <p:ph type="title"/>
          </p:nvPr>
        </p:nvSpPr>
        <p:spPr>
          <a:xfrm>
            <a:off x="936501" y="28813"/>
            <a:ext cx="8893175" cy="1022350"/>
          </a:xfrm>
        </p:spPr>
        <p:txBody>
          <a:bodyPr/>
          <a:lstStyle/>
          <a:p>
            <a:r>
              <a:rPr lang="ru-RU" altLang="ru-RU" sz="2079" dirty="0"/>
              <a:t>Основные процессы подсистемы «Управление рисками»</a:t>
            </a:r>
          </a:p>
        </p:txBody>
      </p:sp>
      <p:sp>
        <p:nvSpPr>
          <p:cNvPr id="17411" name="Объект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defRPr/>
            </a:pPr>
            <a:r>
              <a:rPr lang="ru-RU" sz="2079" dirty="0"/>
              <a:t>Регистрация рисков</a:t>
            </a:r>
          </a:p>
          <a:p>
            <a:pPr lvl="1">
              <a:defRPr/>
            </a:pPr>
            <a:r>
              <a:rPr lang="ru-RU" sz="2079" dirty="0"/>
              <a:t>Планирование и регистрация контрольных процедур по предупреждению рисков </a:t>
            </a:r>
          </a:p>
          <a:p>
            <a:pPr lvl="1">
              <a:defRPr/>
            </a:pPr>
            <a:r>
              <a:rPr lang="ru-RU" sz="2079" dirty="0"/>
              <a:t>Планирование реакций на инциденты -  мероприятий для минимизации ущерба от инцидентов реализации рисков</a:t>
            </a:r>
          </a:p>
          <a:p>
            <a:pPr lvl="1">
              <a:defRPr/>
            </a:pPr>
            <a:r>
              <a:rPr lang="ru-RU" sz="2079" dirty="0"/>
              <a:t>Регистрация инцидентов и реакции на них</a:t>
            </a:r>
          </a:p>
          <a:p>
            <a:pPr lvl="1">
              <a:defRPr/>
            </a:pPr>
            <a:r>
              <a:rPr lang="ru-RU" sz="2079" dirty="0"/>
              <a:t>Анализ информации о рисках, контрольных процедурах, инцидентах</a:t>
            </a:r>
          </a:p>
          <a:p>
            <a:pPr lvl="1">
              <a:defRPr/>
            </a:pPr>
            <a:r>
              <a:rPr lang="ru-RU" sz="2079" dirty="0"/>
              <a:t>Заполнение и отправка регламентированной отчетности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831065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74866" y="16738"/>
            <a:ext cx="8893175" cy="1022350"/>
          </a:xfrm>
        </p:spPr>
        <p:txBody>
          <a:bodyPr/>
          <a:lstStyle/>
          <a:p>
            <a:r>
              <a:rPr lang="ru-RU" sz="2079" dirty="0"/>
              <a:t>Регистрация</a:t>
            </a:r>
            <a:r>
              <a:rPr lang="ru-RU" dirty="0"/>
              <a:t> </a:t>
            </a:r>
            <a:r>
              <a:rPr lang="ru-RU" sz="2079" dirty="0"/>
              <a:t>рисков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328" y="1426252"/>
            <a:ext cx="5933479" cy="4838171"/>
          </a:xfrm>
          <a:prstGeom prst="rect">
            <a:avLst/>
          </a:prstGeom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</p:pic>
      <p:sp>
        <p:nvSpPr>
          <p:cNvPr id="5" name="Скругленная прямоугольная выноска 4"/>
          <p:cNvSpPr/>
          <p:nvPr/>
        </p:nvSpPr>
        <p:spPr bwMode="auto">
          <a:xfrm>
            <a:off x="6913165" y="1727919"/>
            <a:ext cx="3600400" cy="1728192"/>
          </a:xfrm>
          <a:prstGeom prst="wedgeRoundRectCallout">
            <a:avLst>
              <a:gd name="adj1" fmla="val -113391"/>
              <a:gd name="adj2" fmla="val 67421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Панель налоговых контролей может настраиваться при внедрении без изменения типовой конфигурации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7181" y="1943943"/>
            <a:ext cx="3250332" cy="1345637"/>
          </a:xfrm>
          <a:prstGeom prst="rect">
            <a:avLst/>
          </a:prstGeom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</p:pic>
      <p:sp>
        <p:nvSpPr>
          <p:cNvPr id="6" name="Прямоугольник 5"/>
          <p:cNvSpPr/>
          <p:nvPr/>
        </p:nvSpPr>
        <p:spPr bwMode="auto">
          <a:xfrm>
            <a:off x="809327" y="3888159"/>
            <a:ext cx="5933479" cy="1656184"/>
          </a:xfrm>
          <a:prstGeom prst="rect">
            <a:avLst/>
          </a:prstGeom>
          <a:noFill/>
          <a:ln w="28575">
            <a:solidFill>
              <a:srgbClr val="BA3A3B"/>
            </a:solidFill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5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Скругленная прямоугольная выноска 7"/>
          <p:cNvSpPr/>
          <p:nvPr/>
        </p:nvSpPr>
        <p:spPr bwMode="auto">
          <a:xfrm>
            <a:off x="6913165" y="3520356"/>
            <a:ext cx="4464979" cy="2887441"/>
          </a:xfrm>
          <a:prstGeom prst="wedgeRoundRectCallout">
            <a:avLst>
              <a:gd name="adj1" fmla="val -69098"/>
              <a:gd name="adj2" fmla="val -33843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Панель налоговых контролей может настраиваться при внедрении без изменения типовой конфигурации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88310" y="3672135"/>
            <a:ext cx="4001319" cy="2556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2113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353915" y="2074069"/>
            <a:ext cx="1947140" cy="771229"/>
          </a:xfrm>
          <a:prstGeom prst="rect">
            <a:avLst/>
          </a:prstGeom>
          <a:solidFill>
            <a:srgbClr val="FFD653"/>
          </a:solidFill>
          <a:ln w="25400" cap="flat" cmpd="sng" algn="ctr">
            <a:noFill/>
            <a:prstDash val="solid"/>
          </a:ln>
          <a:effectLst/>
        </p:spPr>
        <p:txBody>
          <a:bodyPr lIns="72010" tIns="72010" rIns="72010" bIns="72010" anchor="ctr"/>
          <a:lstStyle/>
          <a:p>
            <a:pPr algn="ctr" defTabSz="863834" eaLnBrk="1" fontAlgn="auto" hangingPunct="1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defRPr/>
            </a:pPr>
            <a:r>
              <a:rPr lang="ru-RU" sz="1417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Публикация</a:t>
            </a:r>
          </a:p>
        </p:txBody>
      </p:sp>
      <p:sp>
        <p:nvSpPr>
          <p:cNvPr id="45" name="Прямоугольник 44"/>
          <p:cNvSpPr/>
          <p:nvPr/>
        </p:nvSpPr>
        <p:spPr bwMode="auto">
          <a:xfrm>
            <a:off x="2571802" y="2074069"/>
            <a:ext cx="1933955" cy="771229"/>
          </a:xfrm>
          <a:prstGeom prst="rect">
            <a:avLst/>
          </a:prstGeom>
          <a:solidFill>
            <a:srgbClr val="FFD653"/>
          </a:solidFill>
          <a:ln w="25400" cap="flat" cmpd="sng" algn="ctr">
            <a:noFill/>
            <a:prstDash val="solid"/>
          </a:ln>
          <a:effectLst/>
        </p:spPr>
        <p:txBody>
          <a:bodyPr lIns="72010" tIns="72010" rIns="72010" bIns="72010" anchor="ctr"/>
          <a:lstStyle/>
          <a:p>
            <a:pPr algn="ctr" defTabSz="863834" eaLnBrk="1" fontAlgn="auto" hangingPunct="1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defRPr/>
            </a:pPr>
            <a:r>
              <a:rPr lang="ru-RU" sz="1417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Взаимодействие с налоговым органом</a:t>
            </a:r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4785614" y="2074069"/>
            <a:ext cx="1923980" cy="771229"/>
          </a:xfrm>
          <a:prstGeom prst="rect">
            <a:avLst/>
          </a:prstGeom>
          <a:solidFill>
            <a:srgbClr val="FFD653"/>
          </a:solidFill>
          <a:ln w="25400" cap="flat" cmpd="sng" algn="ctr">
            <a:noFill/>
            <a:prstDash val="solid"/>
          </a:ln>
          <a:effectLst/>
        </p:spPr>
        <p:txBody>
          <a:bodyPr lIns="72010" tIns="72010" rIns="72010" bIns="72010" anchor="ctr"/>
          <a:lstStyle/>
          <a:p>
            <a:pPr algn="ctr" defTabSz="863834" eaLnBrk="1" fontAlgn="auto" hangingPunct="1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defRPr/>
            </a:pPr>
            <a:r>
              <a:rPr lang="ru-RU" sz="1417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Раскрытие налоговых показателей</a:t>
            </a:r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6979705" y="2074069"/>
            <a:ext cx="1965827" cy="771229"/>
          </a:xfrm>
          <a:prstGeom prst="rect">
            <a:avLst/>
          </a:prstGeom>
          <a:solidFill>
            <a:srgbClr val="FFD653"/>
          </a:solidFill>
          <a:ln w="25400" cap="flat" cmpd="sng" algn="ctr">
            <a:noFill/>
            <a:prstDash val="solid"/>
          </a:ln>
          <a:effectLst/>
        </p:spPr>
        <p:txBody>
          <a:bodyPr lIns="72010" tIns="72010" rIns="72010" bIns="72010" anchor="ctr"/>
          <a:lstStyle/>
          <a:p>
            <a:pPr algn="ctr" defTabSz="863834" eaLnBrk="1" fontAlgn="auto" hangingPunct="1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defRPr/>
            </a:pPr>
            <a:r>
              <a:rPr lang="ru-RU" sz="1417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Контроль корректности ведения учета</a:t>
            </a:r>
          </a:p>
        </p:txBody>
      </p:sp>
      <p:sp>
        <p:nvSpPr>
          <p:cNvPr id="48" name="Прямоугольник 47"/>
          <p:cNvSpPr/>
          <p:nvPr/>
        </p:nvSpPr>
        <p:spPr bwMode="auto">
          <a:xfrm>
            <a:off x="9215642" y="2074069"/>
            <a:ext cx="1945054" cy="771229"/>
          </a:xfrm>
          <a:prstGeom prst="rect">
            <a:avLst/>
          </a:prstGeom>
          <a:solidFill>
            <a:srgbClr val="FFD653"/>
          </a:solidFill>
          <a:ln w="25400" cap="flat" cmpd="sng" algn="ctr">
            <a:noFill/>
            <a:prstDash val="solid"/>
          </a:ln>
          <a:effectLst/>
        </p:spPr>
        <p:txBody>
          <a:bodyPr lIns="72010" tIns="72010" rIns="72010" bIns="72010" anchor="ctr"/>
          <a:lstStyle/>
          <a:p>
            <a:pPr algn="ctr" defTabSz="863834" eaLnBrk="1" fontAlgn="auto" hangingPunct="1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defRPr/>
            </a:pPr>
            <a:r>
              <a:rPr lang="ru-RU" sz="1417" kern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Система внутреннего контроля</a:t>
            </a:r>
          </a:p>
        </p:txBody>
      </p:sp>
      <p:sp>
        <p:nvSpPr>
          <p:cNvPr id="78" name="Прямоугольник 77"/>
          <p:cNvSpPr/>
          <p:nvPr/>
        </p:nvSpPr>
        <p:spPr bwMode="auto">
          <a:xfrm>
            <a:off x="3610442" y="784513"/>
            <a:ext cx="4287062" cy="616614"/>
          </a:xfrm>
          <a:prstGeom prst="rect">
            <a:avLst/>
          </a:prstGeom>
          <a:solidFill>
            <a:srgbClr val="FC6E51"/>
          </a:solidFill>
          <a:ln w="19050" cap="flat" cmpd="sng" algn="ctr">
            <a:solidFill>
              <a:srgbClr val="F3514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9" tIns="45714" rIns="91429" bIns="45714" numCol="1" rtlCol="0" anchor="ctr" anchorCtr="0" compatLnSpc="1">
            <a:prstTxWarp prst="textNoShape">
              <a:avLst/>
            </a:prstTxWarp>
          </a:bodyPr>
          <a:lstStyle/>
          <a:p>
            <a:pPr algn="ctr" defTabSz="914282">
              <a:defRPr/>
            </a:pPr>
            <a:r>
              <a:rPr lang="ru-RU" sz="1417" dirty="0">
                <a:solidFill>
                  <a:srgbClr val="FFFFFF"/>
                </a:solidFill>
              </a:rPr>
              <a:t>Налоговый мониторинг</a:t>
            </a:r>
          </a:p>
        </p:txBody>
      </p:sp>
      <p:sp>
        <p:nvSpPr>
          <p:cNvPr id="80" name="Прямоугольник 79"/>
          <p:cNvSpPr/>
          <p:nvPr/>
        </p:nvSpPr>
        <p:spPr bwMode="auto">
          <a:xfrm>
            <a:off x="2570830" y="4180806"/>
            <a:ext cx="1943703" cy="962686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Запросная система</a:t>
            </a:r>
          </a:p>
        </p:txBody>
      </p:sp>
      <p:sp>
        <p:nvSpPr>
          <p:cNvPr id="81" name="Прямоугольник 80"/>
          <p:cNvSpPr/>
          <p:nvPr/>
        </p:nvSpPr>
        <p:spPr bwMode="auto">
          <a:xfrm>
            <a:off x="2570604" y="5335645"/>
            <a:ext cx="1943929" cy="956241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Формы приказа № ЕД-7-23/476@</a:t>
            </a:r>
          </a:p>
        </p:txBody>
      </p:sp>
      <p:sp>
        <p:nvSpPr>
          <p:cNvPr id="82" name="Прямоугольник 81"/>
          <p:cNvSpPr/>
          <p:nvPr/>
        </p:nvSpPr>
        <p:spPr bwMode="auto">
          <a:xfrm>
            <a:off x="2569931" y="3042852"/>
            <a:ext cx="1945278" cy="946909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АРМ налогового инспектора</a:t>
            </a:r>
          </a:p>
        </p:txBody>
      </p:sp>
      <p:sp>
        <p:nvSpPr>
          <p:cNvPr id="86" name="Прямоугольник 85"/>
          <p:cNvSpPr/>
          <p:nvPr/>
        </p:nvSpPr>
        <p:spPr bwMode="auto">
          <a:xfrm>
            <a:off x="357577" y="3042853"/>
            <a:ext cx="1943478" cy="956241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Инструменты создания копии учетной системы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9215643" y="4180805"/>
            <a:ext cx="1945053" cy="965574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>
            <a:defPPr>
              <a:defRPr lang="ru-RU"/>
            </a:defPPr>
            <a:lvl1pPr algn="ctr" eaLnBrk="1" hangingPunct="1">
              <a:lnSpc>
                <a:spcPct val="85000"/>
              </a:lnSpc>
              <a:spcBef>
                <a:spcPct val="50000"/>
              </a:spcBef>
              <a:buSzPct val="120000"/>
              <a:defRPr sz="1400" b="0">
                <a:solidFill>
                  <a:srgbClr val="BA3A3B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>
              <a:defRPr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>
              <a:defRPr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>
              <a:defRPr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defTabSz="863834">
              <a:defRPr/>
            </a:pPr>
            <a:r>
              <a:rPr lang="ru-RU" sz="1323" dirty="0">
                <a:solidFill>
                  <a:srgbClr val="5F6060"/>
                </a:solidFill>
              </a:rPr>
              <a:t>Панель контролей налогового инспектора</a:t>
            </a:r>
          </a:p>
        </p:txBody>
      </p:sp>
      <p:sp>
        <p:nvSpPr>
          <p:cNvPr id="88" name="Прямоугольник 87"/>
          <p:cNvSpPr/>
          <p:nvPr/>
        </p:nvSpPr>
        <p:spPr bwMode="auto">
          <a:xfrm>
            <a:off x="357577" y="5335645"/>
            <a:ext cx="1943703" cy="950466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ЭЦП бухгалтерских и налоговых регистров</a:t>
            </a:r>
          </a:p>
        </p:txBody>
      </p:sp>
      <p:sp>
        <p:nvSpPr>
          <p:cNvPr id="89" name="Прямоугольник 88"/>
          <p:cNvSpPr/>
          <p:nvPr/>
        </p:nvSpPr>
        <p:spPr bwMode="auto">
          <a:xfrm>
            <a:off x="9216993" y="3042852"/>
            <a:ext cx="1943703" cy="950466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Ведение паспортов рисков и регистрация контрольных процедур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7002952" y="3042852"/>
            <a:ext cx="1943703" cy="950466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Контроль корректности процесса закрытия периода</a:t>
            </a: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7000479" y="4180805"/>
            <a:ext cx="1945053" cy="965574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Контрольные соотношения деклараций</a:t>
            </a: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7000479" y="5335645"/>
            <a:ext cx="1945053" cy="965574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Проверка контрагентов через 1С:Контрагент, 1СПАРК Риски</a:t>
            </a: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4783970" y="3042852"/>
            <a:ext cx="1943703" cy="950466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Расшифровка налоговых деклараций до документа</a:t>
            </a: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4783970" y="4180806"/>
            <a:ext cx="1943703" cy="956241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Сканы первичных документов и ЭДО</a:t>
            </a: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4781335" y="5335645"/>
            <a:ext cx="1945278" cy="956241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Формирование произвольных отчетов</a:t>
            </a:r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357577" y="4180805"/>
            <a:ext cx="1943703" cy="945767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Публикация и отправка отчетности через 1С:Отчетность</a:t>
            </a:r>
          </a:p>
        </p:txBody>
      </p:sp>
      <p:sp>
        <p:nvSpPr>
          <p:cNvPr id="39" name="Прямоугольник 38"/>
          <p:cNvSpPr/>
          <p:nvPr/>
        </p:nvSpPr>
        <p:spPr bwMode="auto">
          <a:xfrm>
            <a:off x="9216993" y="5335645"/>
            <a:ext cx="1943703" cy="950466"/>
          </a:xfrm>
          <a:prstGeom prst="rect">
            <a:avLst/>
          </a:prstGeom>
          <a:solidFill>
            <a:srgbClr val="FFFFFF">
              <a:lumMod val="95000"/>
              <a:alpha val="70000"/>
            </a:srgbClr>
          </a:solidFill>
          <a:ln w="1905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863834">
              <a:defRPr/>
            </a:pPr>
            <a:r>
              <a:rPr lang="ru-RU" sz="1323" b="0" dirty="0">
                <a:solidFill>
                  <a:srgbClr val="5F6060"/>
                </a:solidFill>
              </a:rPr>
              <a:t>Формирование Приложений 1-5 из</a:t>
            </a:r>
            <a:r>
              <a:rPr lang="en-US" sz="1323" b="0" dirty="0">
                <a:solidFill>
                  <a:srgbClr val="5F6060"/>
                </a:solidFill>
              </a:rPr>
              <a:t> </a:t>
            </a:r>
            <a:r>
              <a:rPr lang="ru-RU" sz="1323" b="0" dirty="0">
                <a:solidFill>
                  <a:srgbClr val="5F6060"/>
                </a:solidFill>
              </a:rPr>
              <a:t>Приказа № ЕД-7-23/518</a:t>
            </a:r>
            <a:r>
              <a:rPr lang="en-US" sz="1323" b="0" dirty="0">
                <a:solidFill>
                  <a:srgbClr val="5F6060"/>
                </a:solidFill>
              </a:rPr>
              <a:t>@</a:t>
            </a:r>
            <a:endParaRPr lang="ru-RU" sz="1323" b="0" dirty="0">
              <a:solidFill>
                <a:srgbClr val="5F6060"/>
              </a:solidFill>
            </a:endParaRPr>
          </a:p>
        </p:txBody>
      </p:sp>
      <p:cxnSp>
        <p:nvCxnSpPr>
          <p:cNvPr id="49" name="Соединительная линия уступом 48"/>
          <p:cNvCxnSpPr>
            <a:cxnSpLocks/>
            <a:stCxn id="78" idx="2"/>
            <a:endCxn id="4" idx="0"/>
          </p:cNvCxnSpPr>
          <p:nvPr/>
        </p:nvCxnSpPr>
        <p:spPr bwMode="auto">
          <a:xfrm rot="5400000">
            <a:off x="3204259" y="-475645"/>
            <a:ext cx="672942" cy="4426487"/>
          </a:xfrm>
          <a:prstGeom prst="bentConnector3">
            <a:avLst>
              <a:gd name="adj1" fmla="val 50000"/>
            </a:avLst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2" name="Соединительная линия уступом 51"/>
          <p:cNvCxnSpPr>
            <a:cxnSpLocks/>
            <a:stCxn id="78" idx="2"/>
            <a:endCxn id="45" idx="0"/>
          </p:cNvCxnSpPr>
          <p:nvPr/>
        </p:nvCxnSpPr>
        <p:spPr bwMode="auto">
          <a:xfrm rot="5400000">
            <a:off x="4309906" y="630001"/>
            <a:ext cx="672942" cy="2215193"/>
          </a:xfrm>
          <a:prstGeom prst="bentConnector3">
            <a:avLst>
              <a:gd name="adj1" fmla="val 50000"/>
            </a:avLst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5" name="Соединительная линия уступом 54"/>
          <p:cNvCxnSpPr>
            <a:cxnSpLocks/>
            <a:stCxn id="78" idx="2"/>
            <a:endCxn id="46" idx="0"/>
          </p:cNvCxnSpPr>
          <p:nvPr/>
        </p:nvCxnSpPr>
        <p:spPr bwMode="auto">
          <a:xfrm rot="5400000">
            <a:off x="5414319" y="1734414"/>
            <a:ext cx="672942" cy="6368"/>
          </a:xfrm>
          <a:prstGeom prst="bentConnector3">
            <a:avLst>
              <a:gd name="adj1" fmla="val 50000"/>
            </a:avLst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8" name="Соединительная линия уступом 57"/>
          <p:cNvCxnSpPr>
            <a:cxnSpLocks/>
            <a:stCxn id="78" idx="2"/>
            <a:endCxn id="47" idx="0"/>
          </p:cNvCxnSpPr>
          <p:nvPr/>
        </p:nvCxnSpPr>
        <p:spPr bwMode="auto">
          <a:xfrm rot="16200000" flipH="1">
            <a:off x="6521825" y="633275"/>
            <a:ext cx="672942" cy="2208645"/>
          </a:xfrm>
          <a:prstGeom prst="bentConnector3">
            <a:avLst>
              <a:gd name="adj1" fmla="val 50000"/>
            </a:avLst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61" name="Соединительная линия уступом 60"/>
          <p:cNvCxnSpPr>
            <a:cxnSpLocks/>
            <a:stCxn id="78" idx="2"/>
            <a:endCxn id="48" idx="0"/>
          </p:cNvCxnSpPr>
          <p:nvPr/>
        </p:nvCxnSpPr>
        <p:spPr bwMode="auto">
          <a:xfrm rot="16200000" flipH="1">
            <a:off x="7634600" y="-479501"/>
            <a:ext cx="672942" cy="4434196"/>
          </a:xfrm>
          <a:prstGeom prst="bentConnector3">
            <a:avLst>
              <a:gd name="adj1" fmla="val 50000"/>
            </a:avLst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5358940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8469" y="0"/>
            <a:ext cx="8893175" cy="1022350"/>
          </a:xfrm>
        </p:spPr>
        <p:txBody>
          <a:bodyPr/>
          <a:lstStyle/>
          <a:p>
            <a:r>
              <a:rPr lang="ru-RU" sz="2079" dirty="0"/>
              <a:t>Регистрация контрольных процедур</a:t>
            </a:r>
          </a:p>
        </p:txBody>
      </p:sp>
      <p:pic>
        <p:nvPicPr>
          <p:cNvPr id="4" name="Рисунок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2445" y="1583903"/>
            <a:ext cx="6472385" cy="396435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39812" y="4788579"/>
            <a:ext cx="8078788" cy="11938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3777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485" y="0"/>
            <a:ext cx="8893175" cy="1022350"/>
          </a:xfrm>
        </p:spPr>
        <p:txBody>
          <a:bodyPr/>
          <a:lstStyle/>
          <a:p>
            <a:r>
              <a:rPr lang="ru-RU" sz="2079" dirty="0"/>
              <a:t>Регистрация инцидентов</a:t>
            </a:r>
          </a:p>
        </p:txBody>
      </p:sp>
      <p:pic>
        <p:nvPicPr>
          <p:cNvPr id="5" name="Рисунок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350" y="1282701"/>
            <a:ext cx="6229895" cy="5039750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19313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2401" y="-117561"/>
            <a:ext cx="8893175" cy="1022350"/>
          </a:xfrm>
        </p:spPr>
        <p:txBody>
          <a:bodyPr/>
          <a:lstStyle/>
          <a:p>
            <a:r>
              <a:rPr lang="ru-RU" sz="2079" dirty="0"/>
              <a:t>Уведомления по СВК и УР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53" y="863823"/>
            <a:ext cx="5625885" cy="4406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909" y="1727919"/>
            <a:ext cx="6280540" cy="4406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2C63B47-52E2-0947-8B57-AAB97BD310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5706" t="7946" r="2334" b="1473"/>
          <a:stretch/>
        </p:blipFill>
        <p:spPr>
          <a:xfrm>
            <a:off x="1080517" y="2880047"/>
            <a:ext cx="4248472" cy="4104456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47956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6501" y="6227"/>
            <a:ext cx="8893175" cy="1022350"/>
          </a:xfrm>
        </p:spPr>
        <p:txBody>
          <a:bodyPr/>
          <a:lstStyle/>
          <a:p>
            <a:r>
              <a:rPr lang="ru-RU" sz="2079" dirty="0"/>
              <a:t>Отчёты по СВК</a:t>
            </a:r>
            <a:r>
              <a:rPr lang="en-US" sz="2079" dirty="0"/>
              <a:t> </a:t>
            </a:r>
            <a:r>
              <a:rPr lang="ru-RU" sz="2079" dirty="0"/>
              <a:t>и УР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8429" y="1439887"/>
            <a:ext cx="6880474" cy="41267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8909" y="1871935"/>
            <a:ext cx="6737861" cy="4346804"/>
          </a:xfrm>
          <a:prstGeom prst="rect">
            <a:avLst/>
          </a:prstGeom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2042719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>
            <a:extLst>
              <a:ext uri="{FF2B5EF4-FFF2-40B4-BE49-F238E27FC236}">
                <a16:creationId xmlns:a16="http://schemas.microsoft.com/office/drawing/2014/main" id="{0F1B9726-1F90-A991-B22B-119E85DCFC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4325" y="0"/>
            <a:ext cx="7583488" cy="105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2100">
                <a:solidFill>
                  <a:schemeClr val="tx1"/>
                </a:solidFill>
                <a:latin typeface="Futura PT Demi" panose="020B0702020204020303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Char char="•"/>
              <a:defRPr sz="1700">
                <a:solidFill>
                  <a:schemeClr val="tx1"/>
                </a:solidFill>
                <a:latin typeface="Futura PT Demi" panose="020B0702020204020303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Char char="•"/>
              <a:defRPr sz="1600">
                <a:solidFill>
                  <a:schemeClr val="tx1"/>
                </a:solidFill>
                <a:latin typeface="Futura PT Demi" panose="020B0702020204020303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solidFill>
                  <a:schemeClr val="tx1"/>
                </a:solidFill>
                <a:latin typeface="Futura PT Demi" panose="020B0702020204020303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br>
              <a:rPr lang="ru-RU" altLang="ru-RU" sz="2400">
                <a:solidFill>
                  <a:srgbClr val="006600"/>
                </a:solidFill>
                <a:cs typeface="Arial" panose="020B0604020202020204" pitchFamily="34" charset="0"/>
              </a:rPr>
            </a:br>
            <a:r>
              <a:rPr lang="ru-RU" altLang="ru-RU" sz="2400">
                <a:solidFill>
                  <a:srgbClr val="000000"/>
                </a:solidFill>
                <a:cs typeface="Arial" panose="020B0604020202020204" pitchFamily="34" charset="0"/>
              </a:rPr>
              <a:t>Модуль для интеграции линейки </a:t>
            </a:r>
            <a:br>
              <a:rPr lang="ru-RU" altLang="ru-RU" sz="240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ru-RU" altLang="ru-RU" sz="2400">
                <a:solidFill>
                  <a:srgbClr val="000000"/>
                </a:solidFill>
                <a:cs typeface="Arial" panose="020B0604020202020204" pitchFamily="34" charset="0"/>
              </a:rPr>
              <a:t>1С:Управление холдингом с АИС «Налог-3» </a:t>
            </a:r>
            <a:br>
              <a:rPr lang="ru-RU" altLang="ru-RU" sz="2400">
                <a:solidFill>
                  <a:srgbClr val="000000"/>
                </a:solidFill>
                <a:cs typeface="Arial" panose="020B0604020202020204" pitchFamily="34" charset="0"/>
              </a:rPr>
            </a:br>
            <a:endParaRPr lang="ru-RU" altLang="ru-RU" sz="22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458" name="Прямоугольник 3">
            <a:extLst>
              <a:ext uri="{FF2B5EF4-FFF2-40B4-BE49-F238E27FC236}">
                <a16:creationId xmlns:a16="http://schemas.microsoft.com/office/drawing/2014/main" id="{D2F82BBF-A0D8-09ED-A52C-A9D9D6F912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700" y="3024188"/>
            <a:ext cx="7685088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Char char="•"/>
              <a:defRPr sz="2100">
                <a:solidFill>
                  <a:schemeClr val="tx1"/>
                </a:solidFill>
                <a:latin typeface="Futura PT Demi" panose="020B0702020204020303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CC0000"/>
              </a:buClr>
              <a:buChar char="•"/>
              <a:defRPr sz="1700">
                <a:solidFill>
                  <a:schemeClr val="tx1"/>
                </a:solidFill>
                <a:latin typeface="Futura PT Demi" panose="020B0702020204020303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CC0000"/>
              </a:buClr>
              <a:buChar char="•"/>
              <a:defRPr sz="1600">
                <a:solidFill>
                  <a:schemeClr val="tx1"/>
                </a:solidFill>
                <a:latin typeface="Futura PT Demi" panose="020B0702020204020303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solidFill>
                  <a:schemeClr val="tx1"/>
                </a:solidFill>
                <a:latin typeface="Futura PT Demi" panose="020B0702020204020303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anose="020B0702020204020303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ru-RU" altLang="ru-RU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102" name="Text Box 6">
            <a:extLst>
              <a:ext uri="{FF2B5EF4-FFF2-40B4-BE49-F238E27FC236}">
                <a16:creationId xmlns:a16="http://schemas.microsoft.com/office/drawing/2014/main" id="{630D1B7C-305E-8B66-2177-6EAAC56001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38" y="1655763"/>
            <a:ext cx="11396662" cy="41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>
            <a:lvl1pPr algn="l">
              <a:spcBef>
                <a:spcPct val="20000"/>
              </a:spcBef>
              <a:buClr>
                <a:srgbClr val="CC0000"/>
              </a:buClr>
              <a:buChar char="•"/>
              <a:defRPr sz="2100">
                <a:solidFill>
                  <a:schemeClr val="tx1"/>
                </a:solidFill>
                <a:latin typeface="Futura PT Demi" pitchFamily="34" charset="0"/>
              </a:defRPr>
            </a:lvl1pPr>
            <a:lvl2pPr marL="742950" indent="-285750" algn="l">
              <a:spcBef>
                <a:spcPct val="20000"/>
              </a:spcBef>
              <a:buClr>
                <a:srgbClr val="CC0000"/>
              </a:buClr>
              <a:buChar char="•"/>
              <a:defRPr sz="1700">
                <a:solidFill>
                  <a:schemeClr val="tx1"/>
                </a:solidFill>
                <a:latin typeface="Futura PT Demi" pitchFamily="34" charset="0"/>
              </a:defRPr>
            </a:lvl2pPr>
            <a:lvl3pPr marL="1143000" indent="-228600" algn="l">
              <a:spcBef>
                <a:spcPct val="20000"/>
              </a:spcBef>
              <a:buClr>
                <a:srgbClr val="CC0000"/>
              </a:buClr>
              <a:buChar char="•"/>
              <a:defRPr sz="1600">
                <a:solidFill>
                  <a:schemeClr val="tx1"/>
                </a:solidFill>
                <a:latin typeface="Futura PT Demi" pitchFamily="34" charset="0"/>
              </a:defRPr>
            </a:lvl3pPr>
            <a:lvl4pPr marL="1600200" indent="-228600" algn="l">
              <a:spcBef>
                <a:spcPct val="20000"/>
              </a:spcBef>
              <a:buClr>
                <a:srgbClr val="CC0000"/>
              </a:buClr>
              <a:buChar char="•"/>
              <a:defRPr sz="1400">
                <a:solidFill>
                  <a:schemeClr val="tx1"/>
                </a:solidFill>
                <a:latin typeface="Futura PT Demi" pitchFamily="34" charset="0"/>
              </a:defRPr>
            </a:lvl4pPr>
            <a:lvl5pPr marL="2057400" indent="-228600" algn="l">
              <a:spcBef>
                <a:spcPct val="20000"/>
              </a:spcBef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>
                <a:solidFill>
                  <a:schemeClr val="tx1"/>
                </a:solidFill>
                <a:latin typeface="Futura PT Dem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ru-RU" altLang="ru-RU" sz="1500" b="0" dirty="0">
                <a:solidFill>
                  <a:srgbClr val="000000"/>
                </a:solidFill>
              </a:rPr>
              <a:t>Решение «ГНИВЦ: Налоговый мониторинг. Дополнение к 1С:НМ, 1С:ERP.УХ, 1С:УХ 8» - готовый встраиваемый модуль, обеспечивающий прямое подключение пользователей линейки «1С:Управление холдингом» к электронным сервисам ФНС России (АИС «Налог-3») в целях налогового мониторинга.</a:t>
            </a:r>
          </a:p>
          <a:p>
            <a:pPr>
              <a:spcBef>
                <a:spcPct val="0"/>
              </a:spcBef>
              <a:buFontTx/>
              <a:buNone/>
              <a:defRPr/>
            </a:pPr>
            <a:r>
              <a:rPr lang="ru-RU" altLang="ru-RU" sz="1500" b="0" dirty="0">
                <a:solidFill>
                  <a:srgbClr val="000000"/>
                </a:solidFill>
              </a:rPr>
              <a:t>Разработчик - АО «ГНИВЦ» - партнер фирмы «1С» и </a:t>
            </a:r>
            <a:r>
              <a:rPr lang="ru-RU" sz="1500" b="0" dirty="0">
                <a:solidFill>
                  <a:srgbClr val="000000"/>
                </a:solidFill>
              </a:rPr>
              <a:t>разработчик АИС «Налог-3», что позволяет развивать обе интегрируемые системы параллельно.</a:t>
            </a:r>
            <a:endParaRPr lang="ru-RU" altLang="ru-RU" sz="1500" b="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FontTx/>
              <a:buNone/>
              <a:defRPr/>
            </a:pPr>
            <a:endParaRPr lang="ru-RU" altLang="ru-RU" sz="1500" b="0" dirty="0">
              <a:solidFill>
                <a:srgbClr val="000000"/>
              </a:solidFill>
            </a:endParaRPr>
          </a:p>
          <a:p>
            <a:pPr>
              <a:lnSpc>
                <a:spcPct val="95000"/>
              </a:lnSpc>
              <a:defRPr/>
            </a:pPr>
            <a:r>
              <a:rPr lang="ru-RU" altLang="ru-RU" sz="1500" b="0" dirty="0">
                <a:solidFill>
                  <a:srgbClr val="000000"/>
                </a:solidFill>
                <a:cs typeface="Arial" charset="0"/>
              </a:rPr>
              <a:t>: </a:t>
            </a:r>
          </a:p>
          <a:p>
            <a:pPr marL="457200" lvl="1" indent="0">
              <a:lnSpc>
                <a:spcPct val="95000"/>
              </a:lnSpc>
              <a:buFontTx/>
              <a:buNone/>
              <a:defRPr/>
            </a:pPr>
            <a:endParaRPr lang="ru-RU" altLang="ru-RU" sz="1500" b="0" dirty="0">
              <a:solidFill>
                <a:srgbClr val="000000"/>
              </a:solidFill>
            </a:endParaRPr>
          </a:p>
          <a:p>
            <a:pPr marL="457200" lvl="1" indent="0">
              <a:lnSpc>
                <a:spcPct val="95000"/>
              </a:lnSpc>
              <a:buFontTx/>
              <a:buNone/>
              <a:defRPr/>
            </a:pPr>
            <a:endParaRPr lang="ru-RU" altLang="ru-RU" sz="1500" b="0" dirty="0">
              <a:solidFill>
                <a:srgbClr val="000000"/>
              </a:solidFill>
              <a:cs typeface="Arial" charset="0"/>
            </a:endParaRPr>
          </a:p>
          <a:p>
            <a:pPr marL="457200" lvl="1" indent="0">
              <a:lnSpc>
                <a:spcPct val="95000"/>
              </a:lnSpc>
              <a:buFontTx/>
              <a:buNone/>
              <a:defRPr/>
            </a:pPr>
            <a:endParaRPr lang="ru-RU" altLang="ru-RU" sz="1500" b="0" dirty="0">
              <a:solidFill>
                <a:srgbClr val="000000"/>
              </a:solidFill>
              <a:cs typeface="Arial" charset="0"/>
            </a:endParaRPr>
          </a:p>
          <a:p>
            <a:pPr marL="457200" lvl="1" indent="0">
              <a:lnSpc>
                <a:spcPct val="95000"/>
              </a:lnSpc>
              <a:buFontTx/>
              <a:buNone/>
              <a:defRPr/>
            </a:pPr>
            <a:endParaRPr lang="ru-RU" altLang="ru-RU" sz="1500" b="0" dirty="0">
              <a:solidFill>
                <a:srgbClr val="000000"/>
              </a:solidFill>
              <a:cs typeface="Arial" charset="0"/>
            </a:endParaRPr>
          </a:p>
          <a:p>
            <a:pPr lvl="1">
              <a:lnSpc>
                <a:spcPct val="95000"/>
              </a:lnSpc>
              <a:defRPr/>
            </a:pPr>
            <a:endParaRPr lang="ru-RU" altLang="ru-RU" sz="1500" b="0" dirty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95000"/>
              </a:lnSpc>
              <a:buFontTx/>
              <a:buNone/>
              <a:defRPr/>
            </a:pPr>
            <a:endParaRPr lang="ru-RU" altLang="ru-RU" sz="1500" b="0" dirty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95000"/>
              </a:lnSpc>
              <a:buFontTx/>
              <a:buNone/>
              <a:defRPr/>
            </a:pPr>
            <a:endParaRPr lang="ru-RU" altLang="ru-RU" sz="1500" b="0" dirty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95000"/>
              </a:lnSpc>
              <a:defRPr/>
            </a:pPr>
            <a:endParaRPr lang="en-US" altLang="ru-RU" sz="1500" b="0" dirty="0">
              <a:solidFill>
                <a:srgbClr val="000000"/>
              </a:solidFill>
            </a:endParaRPr>
          </a:p>
          <a:p>
            <a:pPr>
              <a:lnSpc>
                <a:spcPct val="95000"/>
              </a:lnSpc>
              <a:defRPr/>
            </a:pPr>
            <a:r>
              <a:rPr lang="ru-RU" altLang="ru-RU" sz="1500" b="0" dirty="0">
                <a:solidFill>
                  <a:srgbClr val="000000"/>
                </a:solidFill>
              </a:rPr>
              <a:t>Распространение через партнеров фирмы «1С», имеющих статус «</a:t>
            </a:r>
            <a:r>
              <a:rPr lang="ru-RU" sz="1500" b="0" dirty="0">
                <a:solidFill>
                  <a:srgbClr val="000000"/>
                </a:solidFill>
              </a:rPr>
              <a:t>1С:Центр </a:t>
            </a:r>
            <a:r>
              <a:rPr lang="en-US" sz="1500" b="0" dirty="0">
                <a:solidFill>
                  <a:srgbClr val="000000"/>
                </a:solidFill>
              </a:rPr>
              <a:t>ERP</a:t>
            </a:r>
            <a:r>
              <a:rPr lang="ru-RU" sz="1500" b="0" dirty="0">
                <a:solidFill>
                  <a:srgbClr val="000000"/>
                </a:solidFill>
              </a:rPr>
              <a:t>» и «1С:Консалтинг».</a:t>
            </a:r>
            <a:endParaRPr lang="en-US" sz="1500" b="0" dirty="0">
              <a:solidFill>
                <a:srgbClr val="0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03565D-421B-AB2A-6266-6E54A10E1E13}"/>
              </a:ext>
            </a:extLst>
          </p:cNvPr>
          <p:cNvSpPr txBox="1"/>
          <p:nvPr/>
        </p:nvSpPr>
        <p:spPr>
          <a:xfrm>
            <a:off x="6003925" y="2857500"/>
            <a:ext cx="5472113" cy="2724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>
              <a:lnSpc>
                <a:spcPct val="95000"/>
              </a:lnSpc>
              <a:buClr>
                <a:srgbClr val="CC0000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500" b="0" dirty="0">
                <a:solidFill>
                  <a:srgbClr val="333399"/>
                </a:solidFill>
                <a:latin typeface="Futura PT Demi" pitchFamily="34" charset="0"/>
              </a:rPr>
              <a:t>Дополнение «ГНИВЦ: Налоговый мониторинг» расширяет функциональность линейки решений для пользователей «1С:Управление холдингом» обеспечивая переход компаний, участников налогового мониторинга, на взаимодействие с налоговым органом через систему АИС «Налог-3».</a:t>
            </a:r>
          </a:p>
          <a:p>
            <a:pPr lvl="1">
              <a:lnSpc>
                <a:spcPct val="95000"/>
              </a:lnSpc>
              <a:defRPr/>
            </a:pPr>
            <a:endParaRPr lang="ru-RU" altLang="ru-RU" sz="1500" b="0" dirty="0">
              <a:solidFill>
                <a:srgbClr val="333399"/>
              </a:solidFill>
              <a:latin typeface="Futura PT Demi" pitchFamily="34" charset="0"/>
            </a:endParaRPr>
          </a:p>
          <a:p>
            <a:pPr marL="285750" indent="-285750">
              <a:lnSpc>
                <a:spcPct val="95000"/>
              </a:lnSpc>
              <a:buClr>
                <a:srgbClr val="CC0000"/>
              </a:buClr>
              <a:buFont typeface="Arial" panose="020B0604020202020204" pitchFamily="34" charset="0"/>
              <a:buChar char="•"/>
              <a:defRPr/>
            </a:pPr>
            <a:r>
              <a:rPr lang="ru-RU" altLang="ru-RU" sz="1500" b="0" dirty="0">
                <a:solidFill>
                  <a:srgbClr val="333399"/>
                </a:solidFill>
                <a:latin typeface="Futura PT Demi" pitchFamily="34" charset="0"/>
              </a:rPr>
              <a:t>Обеспечивает выполнение приказа ФНС России от 13.03.2023 № ЕД-7-23/163@ «Об утверждении Порядка получения доступа налоговых органов к информационным системам организации».</a:t>
            </a:r>
          </a:p>
          <a:p>
            <a:pPr marL="742950" lvl="1" indent="-285750" algn="just">
              <a:lnSpc>
                <a:spcPct val="95000"/>
              </a:lnSpc>
              <a:buClr>
                <a:srgbClr val="CC0000"/>
              </a:buClr>
              <a:buFont typeface="Arial" panose="020B0604020202020204" pitchFamily="34" charset="0"/>
              <a:buChar char="•"/>
              <a:defRPr/>
            </a:pPr>
            <a:endParaRPr lang="ru-RU" altLang="ru-RU" sz="1500" b="0" dirty="0">
              <a:solidFill>
                <a:srgbClr val="333399"/>
              </a:solidFill>
              <a:latin typeface="Arial" charset="0"/>
            </a:endParaRPr>
          </a:p>
        </p:txBody>
      </p:sp>
      <p:pic>
        <p:nvPicPr>
          <p:cNvPr id="19462" name="Picture 11">
            <a:extLst>
              <a:ext uri="{FF2B5EF4-FFF2-40B4-BE49-F238E27FC236}">
                <a16:creationId xmlns:a16="http://schemas.microsoft.com/office/drawing/2014/main" id="{BA869F74-2071-B2DE-1FE7-D5F21AF241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879725"/>
            <a:ext cx="5919788" cy="223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>
                    <a:alpha val="74901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9900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81957" y="215900"/>
            <a:ext cx="7343775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562100" y="2592015"/>
            <a:ext cx="7583488" cy="3425825"/>
            <a:chOff x="1562100" y="2592015"/>
            <a:chExt cx="7583488" cy="3425825"/>
          </a:xfrm>
        </p:grpSpPr>
        <p:sp>
          <p:nvSpPr>
            <p:cNvPr id="46083" name="Заголовок 1"/>
            <p:cNvSpPr txBox="1">
              <a:spLocks/>
            </p:cNvSpPr>
            <p:nvPr/>
          </p:nvSpPr>
          <p:spPr bwMode="auto">
            <a:xfrm>
              <a:off x="3336925" y="2592015"/>
              <a:ext cx="4032250" cy="2873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9" tIns="45709" rIns="91419" bIns="45709" anchor="ctr"/>
            <a:lstStyle>
              <a:lvl1pPr>
                <a:spcBef>
                  <a:spcPct val="20000"/>
                </a:spcBef>
                <a:buClr>
                  <a:srgbClr val="CC0000"/>
                </a:buClr>
                <a:buChar char="•"/>
                <a:defRPr sz="2100">
                  <a:solidFill>
                    <a:schemeClr val="tx1"/>
                  </a:solidFill>
                  <a:latin typeface="Futura PT Demi" pitchFamily="34" charset="0"/>
                </a:defRPr>
              </a:lvl1pPr>
              <a:lvl2pPr marL="742950" indent="-287338">
                <a:spcBef>
                  <a:spcPct val="20000"/>
                </a:spcBef>
                <a:buClr>
                  <a:srgbClr val="CC0000"/>
                </a:buClr>
                <a:buChar char="•"/>
                <a:defRPr sz="1700">
                  <a:solidFill>
                    <a:schemeClr val="tx1"/>
                  </a:solidFill>
                  <a:latin typeface="Futura PT Demi" pitchFamily="34" charset="0"/>
                </a:defRPr>
              </a:lvl2pPr>
              <a:lvl3pPr marL="1144588" indent="-230188">
                <a:spcBef>
                  <a:spcPct val="20000"/>
                </a:spcBef>
                <a:buClr>
                  <a:srgbClr val="CC0000"/>
                </a:buClr>
                <a:buChar char="•"/>
                <a:defRPr sz="1600">
                  <a:solidFill>
                    <a:schemeClr val="tx1"/>
                  </a:solidFill>
                  <a:latin typeface="Futura PT Demi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C0000"/>
                </a:buClr>
                <a:buChar char="•"/>
                <a:defRPr sz="1400">
                  <a:solidFill>
                    <a:schemeClr val="tx1"/>
                  </a:solidFill>
                  <a:latin typeface="Futura PT Demi" pitchFamily="34" charset="0"/>
                </a:defRPr>
              </a:lvl4pPr>
              <a:lvl5pPr marL="2055813" indent="-227013">
                <a:spcBef>
                  <a:spcPct val="20000"/>
                </a:spcBef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5pPr>
              <a:lvl6pPr marL="25130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6pPr>
              <a:lvl7pPr marL="29702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7pPr>
              <a:lvl8pPr marL="34274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8pPr>
              <a:lvl9pPr marL="38846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ополнительная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информац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62100" y="2879352"/>
              <a:ext cx="7583488" cy="31384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ERP.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https://v8.1c.ru/cpm-erp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4"/>
                </a:rPr>
                <a:t>https://v8.1c.ru/cpm-erp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5"/>
                </a:rPr>
                <a:t>https://v8.1c.ru/cpm-erp/poleznye-materialy/video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6"/>
                </a:rPr>
                <a:t>https://v8.1c.ru/cpm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7"/>
                </a:rPr>
                <a:t>https://v8.1c.ru/cpm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8"/>
                </a:rPr>
                <a:t>https://v8.1c.ru/cpm/poleznye-materialy/video/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Наиболее интересные внедрения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9"/>
                </a:rPr>
                <a:t>https://v8.1c.ru/cpm/istorii-uspekha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1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Канал линейки продуктов «1С:Управление холдингом» на </a:t>
              </a:r>
              <a:r>
                <a:rPr kumimoji="0" lang="en-US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YouTube</a:t>
              </a:r>
              <a:endParaRPr kumimoji="0" lang="ru-RU" sz="18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934389" y="966212"/>
            <a:ext cx="2838911" cy="1449854"/>
            <a:chOff x="3756544" y="966212"/>
            <a:chExt cx="2838911" cy="1449854"/>
          </a:xfrm>
        </p:grpSpPr>
        <p:sp>
          <p:nvSpPr>
            <p:cNvPr id="2" name="Овал 1"/>
            <p:cNvSpPr/>
            <p:nvPr/>
          </p:nvSpPr>
          <p:spPr bwMode="auto">
            <a:xfrm>
              <a:off x="3756544" y="966212"/>
              <a:ext cx="1392213" cy="1441760"/>
            </a:xfrm>
            <a:prstGeom prst="ellipse">
              <a:avLst/>
            </a:prstGeom>
            <a:solidFill>
              <a:srgbClr val="92D050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 bwMode="auto">
            <a:xfrm>
              <a:off x="4464893" y="974306"/>
              <a:ext cx="1392213" cy="1441760"/>
            </a:xfrm>
            <a:prstGeom prst="ellipse">
              <a:avLst/>
            </a:prstGeom>
            <a:solidFill>
              <a:srgbClr val="F3EA28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" name="Овал 6"/>
            <p:cNvSpPr/>
            <p:nvPr/>
          </p:nvSpPr>
          <p:spPr bwMode="auto">
            <a:xfrm>
              <a:off x="5203242" y="974306"/>
              <a:ext cx="1392213" cy="1441760"/>
            </a:xfrm>
            <a:prstGeom prst="ellipse">
              <a:avLst/>
            </a:prstGeom>
            <a:solidFill>
              <a:srgbClr val="FC846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483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936501" y="0"/>
            <a:ext cx="7200000" cy="612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r>
              <a:rPr lang="ru-RU" sz="2079" b="1" dirty="0"/>
              <a:t>Доступ налогового инспектора к рабочей базе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532" y="1294776"/>
            <a:ext cx="8833867" cy="3788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88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08509" y="35070"/>
            <a:ext cx="7200000" cy="612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r>
              <a:rPr lang="ru-RU" sz="2079" b="1" dirty="0"/>
              <a:t>Доступ налогового инспектора к копии рабочей базы (витрине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573" y="1943943"/>
            <a:ext cx="8689851" cy="2987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9634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509" y="1833071"/>
            <a:ext cx="9554344" cy="3358055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70FBEE2-A6F0-7C41-9E3C-C0E471D01232}"/>
              </a:ext>
            </a:extLst>
          </p:cNvPr>
          <p:cNvSpPr txBox="1">
            <a:spLocks/>
          </p:cNvSpPr>
          <p:nvPr/>
        </p:nvSpPr>
        <p:spPr bwMode="auto">
          <a:xfrm>
            <a:off x="1008509" y="35070"/>
            <a:ext cx="7200000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9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2"/>
                </a:solidFill>
                <a:latin typeface="Futura PT Demi" panose="020B0702020204020303" pitchFamily="34" charset="0"/>
              </a:defRPr>
            </a:lvl9pPr>
          </a:lstStyle>
          <a:p>
            <a:r>
              <a:rPr lang="ru-RU" sz="2079" b="1" dirty="0"/>
              <a:t>Доступ налогового инспектора к копии рабочей базы (витрине) с обменом данными запросной системы</a:t>
            </a:r>
          </a:p>
        </p:txBody>
      </p:sp>
    </p:spTree>
    <p:extLst>
      <p:ext uri="{BB962C8B-B14F-4D97-AF65-F5344CB8AC3E}">
        <p14:creationId xmlns:p14="http://schemas.microsoft.com/office/powerpoint/2010/main" val="35175772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08509" y="0"/>
            <a:ext cx="8893175" cy="7985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r>
              <a:rPr lang="ru-RU" sz="2079" b="1" dirty="0"/>
              <a:t>Настройка режима публикация учетной базы и фильтрации данных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6911" y="1439887"/>
            <a:ext cx="4455917" cy="3887713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7271" y="2303983"/>
            <a:ext cx="4556174" cy="3975185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5" name="Скругленный прямоугольник 4"/>
          <p:cNvSpPr/>
          <p:nvPr/>
        </p:nvSpPr>
        <p:spPr bwMode="auto">
          <a:xfrm>
            <a:off x="1440557" y="2664023"/>
            <a:ext cx="2880320" cy="684000"/>
          </a:xfrm>
          <a:prstGeom prst="roundRect">
            <a:avLst/>
          </a:prstGeom>
          <a:noFill/>
          <a:ln w="28575">
            <a:solidFill>
              <a:srgbClr val="BA3A3B"/>
            </a:solidFill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indent="-381000" eaLnBrk="1" hangingPunct="1">
              <a:lnSpc>
                <a:spcPct val="85000"/>
              </a:lnSpc>
              <a:spcBef>
                <a:spcPct val="50000"/>
              </a:spcBef>
              <a:buSzPct val="120000"/>
              <a:buFontTx/>
              <a:buBlip>
                <a:blip r:embed="rId5"/>
              </a:buBlip>
            </a:pPr>
            <a:endParaRPr lang="ru-RU" b="0"/>
          </a:p>
        </p:txBody>
      </p:sp>
    </p:spTree>
    <p:extLst>
      <p:ext uri="{BB962C8B-B14F-4D97-AF65-F5344CB8AC3E}">
        <p14:creationId xmlns:p14="http://schemas.microsoft.com/office/powerpoint/2010/main" val="3656854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>
            <a:extLst>
              <a:ext uri="{FF2B5EF4-FFF2-40B4-BE49-F238E27FC236}">
                <a16:creationId xmlns:a16="http://schemas.microsoft.com/office/drawing/2014/main" id="{ECCBC75B-19ED-445F-BDC5-F37614336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5" y="27689"/>
            <a:ext cx="7200000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2079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Интерфейс налогового инспектор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100" y="1151855"/>
            <a:ext cx="8359325" cy="497153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</p:pic>
      <p:sp>
        <p:nvSpPr>
          <p:cNvPr id="6" name="Скругленная прямоугольная выноска 5"/>
          <p:cNvSpPr/>
          <p:nvPr/>
        </p:nvSpPr>
        <p:spPr bwMode="auto">
          <a:xfrm>
            <a:off x="9001125" y="4104183"/>
            <a:ext cx="2232248" cy="1368152"/>
          </a:xfrm>
          <a:prstGeom prst="wedgeRoundRectCallout">
            <a:avLst>
              <a:gd name="adj1" fmla="val -88880"/>
              <a:gd name="adj2" fmla="val -51936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Панель налоговых контролей может настраиваться при внедрении без изменения типовой конфигурации</a:t>
            </a:r>
          </a:p>
        </p:txBody>
      </p:sp>
    </p:spTree>
    <p:extLst>
      <p:ext uri="{BB962C8B-B14F-4D97-AF65-F5344CB8AC3E}">
        <p14:creationId xmlns:p14="http://schemas.microsoft.com/office/powerpoint/2010/main" val="7912683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65" y="1045747"/>
            <a:ext cx="8545834" cy="4413932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4533" y="12463"/>
            <a:ext cx="7200000" cy="720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r>
              <a:rPr lang="ru-RU" sz="2079" b="1" dirty="0"/>
              <a:t>Интерфейс бухгалтера для режима налогового мониторинга</a:t>
            </a:r>
          </a:p>
        </p:txBody>
      </p:sp>
      <p:sp>
        <p:nvSpPr>
          <p:cNvPr id="5" name="Прямоугольная выноска 4"/>
          <p:cNvSpPr/>
          <p:nvPr/>
        </p:nvSpPr>
        <p:spPr bwMode="auto">
          <a:xfrm>
            <a:off x="3096741" y="2087959"/>
            <a:ext cx="1512168" cy="1512168"/>
          </a:xfrm>
          <a:prstGeom prst="wedgeRectCallout">
            <a:avLst>
              <a:gd name="adj1" fmla="val -85027"/>
              <a:gd name="adj2" fmla="val -82778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Быстрый переход к не обработанным запросам налогового мониторинга</a:t>
            </a:r>
          </a:p>
        </p:txBody>
      </p:sp>
      <p:sp>
        <p:nvSpPr>
          <p:cNvPr id="6" name="Прямоугольная выноска 5"/>
          <p:cNvSpPr/>
          <p:nvPr/>
        </p:nvSpPr>
        <p:spPr bwMode="auto">
          <a:xfrm>
            <a:off x="5248116" y="2592015"/>
            <a:ext cx="1512168" cy="1512168"/>
          </a:xfrm>
          <a:prstGeom prst="wedgeRectCallout">
            <a:avLst>
              <a:gd name="adj1" fmla="val -139450"/>
              <a:gd name="adj2" fmla="val 80994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В настройках формы можно заменить таблицу на текстовое поле ответа</a:t>
            </a:r>
          </a:p>
        </p:txBody>
      </p:sp>
      <p:sp>
        <p:nvSpPr>
          <p:cNvPr id="7" name="Прямоугольная выноска 6"/>
          <p:cNvSpPr/>
          <p:nvPr/>
        </p:nvSpPr>
        <p:spPr bwMode="auto">
          <a:xfrm>
            <a:off x="9433443" y="3600127"/>
            <a:ext cx="1512168" cy="1512168"/>
          </a:xfrm>
          <a:prstGeom prst="wedgeRectCallout">
            <a:avLst>
              <a:gd name="adj1" fmla="val -109215"/>
              <a:gd name="adj2" fmla="val -55566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Создание и проверка статуса </a:t>
            </a:r>
            <a:r>
              <a:rPr lang="ru-RU" sz="1400" b="0" dirty="0" err="1">
                <a:solidFill>
                  <a:srgbClr val="BA3A3B"/>
                </a:solidFill>
              </a:rPr>
              <a:t>регл.отчетности</a:t>
            </a:r>
            <a:r>
              <a:rPr lang="ru-RU" sz="1400" b="0" dirty="0">
                <a:solidFill>
                  <a:srgbClr val="BA3A3B"/>
                </a:solidFill>
              </a:rPr>
              <a:t> налогового мониторинга</a:t>
            </a:r>
          </a:p>
        </p:txBody>
      </p:sp>
    </p:spTree>
    <p:extLst>
      <p:ext uri="{BB962C8B-B14F-4D97-AF65-F5344CB8AC3E}">
        <p14:creationId xmlns:p14="http://schemas.microsoft.com/office/powerpoint/2010/main" val="112385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501" y="1223863"/>
            <a:ext cx="9070525" cy="4444866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2525" y="15614"/>
            <a:ext cx="7200000" cy="720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r>
              <a:rPr lang="ru-RU" sz="2079" b="1" dirty="0"/>
              <a:t>Уведомления для режима налогового мониторинг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3045" y="790197"/>
            <a:ext cx="4407102" cy="5473080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954396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9731A046-F01E-489C-9505-35C076B74223}"/>
    </a:ext>
  </a:extLst>
</a:theme>
</file>

<file path=ppt/theme/theme2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64CA2CBB-2ED5-495B-9C53-C423713E49C6}"/>
    </a:ext>
  </a:extLst>
</a:theme>
</file>

<file path=ppt/theme/theme3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5B528353-BE67-4454-8AF4-131AC67AC326}"/>
    </a:ext>
  </a:extLst>
</a:theme>
</file>

<file path=ppt/theme/theme4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D3779D9C-2286-42E9-AE2D-79F6B935236F}"/>
    </a:ext>
  </a:extLst>
</a:theme>
</file>

<file path=ppt/theme/theme5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564425A3-9686-4A78-9DF9-1517B0559B21}"/>
    </a:ext>
  </a:extLst>
</a:theme>
</file>

<file path=ppt/theme/theme6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49163328-4CF0-4CAE-9C0E-37B6B1EF0B77}"/>
    </a:ext>
  </a:extLst>
</a:theme>
</file>

<file path=ppt/theme/theme7.xml><?xml version="1.0" encoding="utf-8"?>
<a:theme xmlns:a="http://schemas.openxmlformats.org/drawingml/2006/main" name="1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3_Специальное оформление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Шаблон2021</Template>
  <TotalTime>68957</TotalTime>
  <Words>1439</Words>
  <Application>Microsoft Macintosh PowerPoint</Application>
  <PresentationFormat>Произвольный</PresentationFormat>
  <Paragraphs>164</Paragraphs>
  <Slides>25</Slides>
  <Notes>2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8" baseType="lpstr">
      <vt:lpstr>Proxima Nova Lt</vt:lpstr>
      <vt:lpstr>Arial</vt:lpstr>
      <vt:lpstr>Futura PT Demi</vt:lpstr>
      <vt:lpstr>Times New Roman</vt:lpstr>
      <vt:lpstr>Wingdings</vt:lpstr>
      <vt:lpstr>3_Специальное оформление</vt:lpstr>
      <vt:lpstr>4_Специальное оформление</vt:lpstr>
      <vt:lpstr>5_Специальное оформление</vt:lpstr>
      <vt:lpstr>4_Оформление по умолчанию</vt:lpstr>
      <vt:lpstr>5_Оформление по умолчанию</vt:lpstr>
      <vt:lpstr>6_Оформление по умолчанию</vt:lpstr>
      <vt:lpstr>1_1409_Шаблон</vt:lpstr>
      <vt:lpstr>think-cell Slide</vt:lpstr>
      <vt:lpstr>Налоговый мониторинг</vt:lpstr>
      <vt:lpstr>Презентация PowerPoint</vt:lpstr>
      <vt:lpstr>Доступ налогового инспектора к рабочей базе</vt:lpstr>
      <vt:lpstr>Доступ налогового инспектора к копии рабочей базы (витрине)</vt:lpstr>
      <vt:lpstr>Презентация PowerPoint</vt:lpstr>
      <vt:lpstr>Настройка режима публикация учетной базы и фильтрации данных</vt:lpstr>
      <vt:lpstr>Презентация PowerPoint</vt:lpstr>
      <vt:lpstr>Интерфейс бухгалтера для режима налогового мониторинга</vt:lpstr>
      <vt:lpstr>Уведомления для режима налогового мониторинга</vt:lpstr>
      <vt:lpstr>Презентация PowerPoint</vt:lpstr>
      <vt:lpstr>Презентация PowerPoint</vt:lpstr>
      <vt:lpstr>Презентация PowerPoint</vt:lpstr>
      <vt:lpstr>Оповещения бухгалтера о запросах налогового инспектора</vt:lpstr>
      <vt:lpstr>Презентация PowerPoint</vt:lpstr>
      <vt:lpstr>Презентация PowerPoint</vt:lpstr>
      <vt:lpstr>Система Внутреннего контроля и управления рисками</vt:lpstr>
      <vt:lpstr>Реализация основных требований законодательства к СВК и УР в продуктах линейки «1С:Управление холдингом»</vt:lpstr>
      <vt:lpstr>Основные процессы подсистемы «Управление рисками»</vt:lpstr>
      <vt:lpstr>Регистрация рисков</vt:lpstr>
      <vt:lpstr>Регистрация контрольных процедур</vt:lpstr>
      <vt:lpstr>Регистрация инцидентов</vt:lpstr>
      <vt:lpstr>Уведомления по СВК и УР</vt:lpstr>
      <vt:lpstr>Отчёты по СВК и УР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лачатов Алексей Викторович</dc:creator>
  <cp:lastModifiedBy>Станислав Митрохин</cp:lastModifiedBy>
  <cp:revision>109</cp:revision>
  <cp:lastPrinted>2021-10-29T12:35:03Z</cp:lastPrinted>
  <dcterms:created xsi:type="dcterms:W3CDTF">2021-02-09T09:39:16Z</dcterms:created>
  <dcterms:modified xsi:type="dcterms:W3CDTF">2024-01-12T08:21:14Z</dcterms:modified>
</cp:coreProperties>
</file>